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66" r:id="rId4"/>
  </p:sldMasterIdLst>
  <p:notesMasterIdLst>
    <p:notesMasterId r:id="rId36"/>
  </p:notesMasterIdLst>
  <p:handoutMasterIdLst>
    <p:handoutMasterId r:id="rId37"/>
  </p:handoutMasterIdLst>
  <p:sldIdLst>
    <p:sldId id="339" r:id="rId5"/>
    <p:sldId id="338" r:id="rId6"/>
    <p:sldId id="523" r:id="rId7"/>
    <p:sldId id="340" r:id="rId8"/>
    <p:sldId id="534" r:id="rId9"/>
    <p:sldId id="535" r:id="rId10"/>
    <p:sldId id="528" r:id="rId11"/>
    <p:sldId id="529" r:id="rId12"/>
    <p:sldId id="530" r:id="rId13"/>
    <p:sldId id="532" r:id="rId14"/>
    <p:sldId id="531" r:id="rId15"/>
    <p:sldId id="536" r:id="rId16"/>
    <p:sldId id="537" r:id="rId17"/>
    <p:sldId id="538" r:id="rId18"/>
    <p:sldId id="539" r:id="rId19"/>
    <p:sldId id="540" r:id="rId20"/>
    <p:sldId id="541" r:id="rId21"/>
    <p:sldId id="542" r:id="rId22"/>
    <p:sldId id="544" r:id="rId23"/>
    <p:sldId id="545" r:id="rId24"/>
    <p:sldId id="546" r:id="rId25"/>
    <p:sldId id="547" r:id="rId26"/>
    <p:sldId id="548" r:id="rId27"/>
    <p:sldId id="549" r:id="rId28"/>
    <p:sldId id="550" r:id="rId29"/>
    <p:sldId id="551" r:id="rId30"/>
    <p:sldId id="552" r:id="rId31"/>
    <p:sldId id="555" r:id="rId32"/>
    <p:sldId id="543" r:id="rId33"/>
    <p:sldId id="556" r:id="rId34"/>
    <p:sldId id="337" r:id="rId35"/>
  </p:sldIdLst>
  <p:sldSz cx="12192000" cy="6858000"/>
  <p:notesSz cx="7315200" cy="9601200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1C1C"/>
    <a:srgbClr val="B2B2B2"/>
    <a:srgbClr val="C0C0C0"/>
    <a:srgbClr val="BED1EC"/>
    <a:srgbClr val="63666A"/>
    <a:srgbClr val="000000"/>
    <a:srgbClr val="1B365D"/>
    <a:srgbClr val="D9DCD8"/>
    <a:srgbClr val="0D365D"/>
    <a:srgbClr val="AB23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55E4797-35DB-4B86-8E63-5FCF8C871B5E}" v="40" dt="2024-04-02T13:17:18.564"/>
  </p1510:revLst>
</p1510:revInfo>
</file>

<file path=ppt/tableStyles.xml><?xml version="1.0" encoding="utf-8"?>
<a:tblStyleLst xmlns:a="http://schemas.openxmlformats.org/drawingml/2006/main" def="{125E5076-3810-47DD-B79F-674D7AD40C01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327" autoAdjust="0"/>
  </p:normalViewPr>
  <p:slideViewPr>
    <p:cSldViewPr>
      <p:cViewPr varScale="1">
        <p:scale>
          <a:sx n="78" d="100"/>
          <a:sy n="78" d="100"/>
        </p:scale>
        <p:origin x="120" y="31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10" d="100"/>
          <a:sy n="110" d="100"/>
        </p:scale>
        <p:origin x="5240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microsoft.com/office/2016/11/relationships/changesInfo" Target="changesInfos/changesInfo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cob Colegrove" userId="c37a86c6-1a09-47b1-8b87-05e62780f0ad" providerId="ADAL" clId="{355E4797-35DB-4B86-8E63-5FCF8C871B5E}"/>
    <pc:docChg chg="undo custSel modSld replTag">
      <pc:chgData name="Jacob Colegrove" userId="c37a86c6-1a09-47b1-8b87-05e62780f0ad" providerId="ADAL" clId="{355E4797-35DB-4B86-8E63-5FCF8C871B5E}" dt="2024-04-02T13:21:05.210" v="139" actId="1038"/>
      <pc:docMkLst>
        <pc:docMk/>
      </pc:docMkLst>
      <pc:sldChg chg="modSp mod">
        <pc:chgData name="Jacob Colegrove" userId="c37a86c6-1a09-47b1-8b87-05e62780f0ad" providerId="ADAL" clId="{355E4797-35DB-4B86-8E63-5FCF8C871B5E}" dt="2024-04-02T13:17:18.562" v="103" actId="14826"/>
        <pc:sldMkLst>
          <pc:docMk/>
          <pc:sldMk cId="1740797170" sldId="523"/>
        </pc:sldMkLst>
        <pc:spChg chg="mod">
          <ac:chgData name="Jacob Colegrove" userId="c37a86c6-1a09-47b1-8b87-05e62780f0ad" providerId="ADAL" clId="{355E4797-35DB-4B86-8E63-5FCF8C871B5E}" dt="2024-04-02T13:01:51.618" v="90"/>
          <ac:spMkLst>
            <pc:docMk/>
            <pc:sldMk cId="1740797170" sldId="523"/>
            <ac:spMk id="11" creationId="{34FB1F6B-803C-3E71-EAC2-C1AE29BCB4FD}"/>
          </ac:spMkLst>
        </pc:spChg>
        <pc:spChg chg="mod">
          <ac:chgData name="Jacob Colegrove" userId="c37a86c6-1a09-47b1-8b87-05e62780f0ad" providerId="ADAL" clId="{355E4797-35DB-4B86-8E63-5FCF8C871B5E}" dt="2024-04-02T13:01:47.115" v="88" actId="21"/>
          <ac:spMkLst>
            <pc:docMk/>
            <pc:sldMk cId="1740797170" sldId="523"/>
            <ac:spMk id="12" creationId="{B2A602B0-4E01-D3CA-D56B-389F727F0439}"/>
          </ac:spMkLst>
        </pc:spChg>
        <pc:spChg chg="mod">
          <ac:chgData name="Jacob Colegrove" userId="c37a86c6-1a09-47b1-8b87-05e62780f0ad" providerId="ADAL" clId="{355E4797-35DB-4B86-8E63-5FCF8C871B5E}" dt="2024-04-02T13:02:18.741" v="94" actId="20577"/>
          <ac:spMkLst>
            <pc:docMk/>
            <pc:sldMk cId="1740797170" sldId="523"/>
            <ac:spMk id="15" creationId="{EA1ACFD7-856A-47F8-D73B-278BFE8E8601}"/>
          </ac:spMkLst>
        </pc:spChg>
        <pc:picChg chg="mod modCrop">
          <ac:chgData name="Jacob Colegrove" userId="c37a86c6-1a09-47b1-8b87-05e62780f0ad" providerId="ADAL" clId="{355E4797-35DB-4B86-8E63-5FCF8C871B5E}" dt="2024-04-02T13:16:14.352" v="101" actId="14826"/>
          <ac:picMkLst>
            <pc:docMk/>
            <pc:sldMk cId="1740797170" sldId="523"/>
            <ac:picMk id="21" creationId="{AABEF927-A983-F506-BF72-EE3CB003566F}"/>
          </ac:picMkLst>
        </pc:picChg>
        <pc:picChg chg="mod">
          <ac:chgData name="Jacob Colegrove" userId="c37a86c6-1a09-47b1-8b87-05e62780f0ad" providerId="ADAL" clId="{355E4797-35DB-4B86-8E63-5FCF8C871B5E}" dt="2024-04-02T13:17:18.562" v="103" actId="14826"/>
          <ac:picMkLst>
            <pc:docMk/>
            <pc:sldMk cId="1740797170" sldId="523"/>
            <ac:picMk id="25" creationId="{96FDF96B-49AA-A792-5055-46F1A31570DA}"/>
          </ac:picMkLst>
        </pc:picChg>
      </pc:sldChg>
      <pc:sldChg chg="modSp mod">
        <pc:chgData name="Jacob Colegrove" userId="c37a86c6-1a09-47b1-8b87-05e62780f0ad" providerId="ADAL" clId="{355E4797-35DB-4B86-8E63-5FCF8C871B5E}" dt="2024-04-02T13:18:20.758" v="110" actId="14"/>
        <pc:sldMkLst>
          <pc:docMk/>
          <pc:sldMk cId="2963955304" sldId="528"/>
        </pc:sldMkLst>
        <pc:spChg chg="mod">
          <ac:chgData name="Jacob Colegrove" userId="c37a86c6-1a09-47b1-8b87-05e62780f0ad" providerId="ADAL" clId="{355E4797-35DB-4B86-8E63-5FCF8C871B5E}" dt="2024-04-02T13:18:20.758" v="110" actId="14"/>
          <ac:spMkLst>
            <pc:docMk/>
            <pc:sldMk cId="2963955304" sldId="528"/>
            <ac:spMk id="2" creationId="{71DF1869-DB8A-F598-B289-892078C42319}"/>
          </ac:spMkLst>
        </pc:spChg>
      </pc:sldChg>
      <pc:sldChg chg="modSp mod">
        <pc:chgData name="Jacob Colegrove" userId="c37a86c6-1a09-47b1-8b87-05e62780f0ad" providerId="ADAL" clId="{355E4797-35DB-4B86-8E63-5FCF8C871B5E}" dt="2024-04-02T13:17:36.259" v="104" actId="6549"/>
        <pc:sldMkLst>
          <pc:docMk/>
          <pc:sldMk cId="2543097451" sldId="534"/>
        </pc:sldMkLst>
        <pc:spChg chg="mod">
          <ac:chgData name="Jacob Colegrove" userId="c37a86c6-1a09-47b1-8b87-05e62780f0ad" providerId="ADAL" clId="{355E4797-35DB-4B86-8E63-5FCF8C871B5E}" dt="2024-04-02T13:17:36.259" v="104" actId="6549"/>
          <ac:spMkLst>
            <pc:docMk/>
            <pc:sldMk cId="2543097451" sldId="534"/>
            <ac:spMk id="18" creationId="{FCB6F928-B9B7-D50E-0F1E-DC2B101D018F}"/>
          </ac:spMkLst>
        </pc:spChg>
        <pc:picChg chg="mod">
          <ac:chgData name="Jacob Colegrove" userId="c37a86c6-1a09-47b1-8b87-05e62780f0ad" providerId="ADAL" clId="{355E4797-35DB-4B86-8E63-5FCF8C871B5E}" dt="2024-04-02T12:52:35.705" v="0" actId="14826"/>
          <ac:picMkLst>
            <pc:docMk/>
            <pc:sldMk cId="2543097451" sldId="534"/>
            <ac:picMk id="15" creationId="{E11B8C5F-5C03-8666-A49A-EA8256635C67}"/>
          </ac:picMkLst>
        </pc:picChg>
      </pc:sldChg>
      <pc:sldChg chg="modSp mod">
        <pc:chgData name="Jacob Colegrove" userId="c37a86c6-1a09-47b1-8b87-05e62780f0ad" providerId="ADAL" clId="{355E4797-35DB-4B86-8E63-5FCF8C871B5E}" dt="2024-04-02T13:18:39.596" v="120" actId="1038"/>
        <pc:sldMkLst>
          <pc:docMk/>
          <pc:sldMk cId="3794463217" sldId="535"/>
        </pc:sldMkLst>
        <pc:spChg chg="mod">
          <ac:chgData name="Jacob Colegrove" userId="c37a86c6-1a09-47b1-8b87-05e62780f0ad" providerId="ADAL" clId="{355E4797-35DB-4B86-8E63-5FCF8C871B5E}" dt="2024-04-02T13:18:39.596" v="120" actId="1038"/>
          <ac:spMkLst>
            <pc:docMk/>
            <pc:sldMk cId="3794463217" sldId="535"/>
            <ac:spMk id="12" creationId="{1965393D-DB59-77CF-4AE7-414514445C22}"/>
          </ac:spMkLst>
        </pc:spChg>
        <pc:spChg chg="mod">
          <ac:chgData name="Jacob Colegrove" userId="c37a86c6-1a09-47b1-8b87-05e62780f0ad" providerId="ADAL" clId="{355E4797-35DB-4B86-8E63-5FCF8C871B5E}" dt="2024-04-02T13:18:33.717" v="115" actId="20577"/>
          <ac:spMkLst>
            <pc:docMk/>
            <pc:sldMk cId="3794463217" sldId="535"/>
            <ac:spMk id="18" creationId="{9EDD483B-3F84-383C-8355-B0C2DF1842E8}"/>
          </ac:spMkLst>
        </pc:spChg>
        <pc:picChg chg="mod">
          <ac:chgData name="Jacob Colegrove" userId="c37a86c6-1a09-47b1-8b87-05e62780f0ad" providerId="ADAL" clId="{355E4797-35DB-4B86-8E63-5FCF8C871B5E}" dt="2024-04-02T12:52:53.401" v="2" actId="14826"/>
          <ac:picMkLst>
            <pc:docMk/>
            <pc:sldMk cId="3794463217" sldId="535"/>
            <ac:picMk id="20" creationId="{A397ADFA-6207-B120-B95C-A2A28E577DA7}"/>
          </ac:picMkLst>
        </pc:picChg>
      </pc:sldChg>
      <pc:sldChg chg="modSp mod">
        <pc:chgData name="Jacob Colegrove" userId="c37a86c6-1a09-47b1-8b87-05e62780f0ad" providerId="ADAL" clId="{355E4797-35DB-4B86-8E63-5FCF8C871B5E}" dt="2024-04-02T13:19:29.149" v="126" actId="1037"/>
        <pc:sldMkLst>
          <pc:docMk/>
          <pc:sldMk cId="1549633217" sldId="536"/>
        </pc:sldMkLst>
        <pc:spChg chg="mod">
          <ac:chgData name="Jacob Colegrove" userId="c37a86c6-1a09-47b1-8b87-05e62780f0ad" providerId="ADAL" clId="{355E4797-35DB-4B86-8E63-5FCF8C871B5E}" dt="2024-04-02T13:19:29.149" v="126" actId="1037"/>
          <ac:spMkLst>
            <pc:docMk/>
            <pc:sldMk cId="1549633217" sldId="536"/>
            <ac:spMk id="12" creationId="{62404E9D-7C5D-6163-B4F8-33CD2954B8B1}"/>
          </ac:spMkLst>
        </pc:spChg>
        <pc:spChg chg="mod">
          <ac:chgData name="Jacob Colegrove" userId="c37a86c6-1a09-47b1-8b87-05e62780f0ad" providerId="ADAL" clId="{355E4797-35DB-4B86-8E63-5FCF8C871B5E}" dt="2024-04-02T12:53:43.492" v="14" actId="1038"/>
          <ac:spMkLst>
            <pc:docMk/>
            <pc:sldMk cId="1549633217" sldId="536"/>
            <ac:spMk id="13" creationId="{F79FB13E-A02C-1CA8-F9AE-C223833F23F3}"/>
          </ac:spMkLst>
        </pc:spChg>
        <pc:spChg chg="mod">
          <ac:chgData name="Jacob Colegrove" userId="c37a86c6-1a09-47b1-8b87-05e62780f0ad" providerId="ADAL" clId="{355E4797-35DB-4B86-8E63-5FCF8C871B5E}" dt="2024-04-02T12:53:34.782" v="10" actId="20577"/>
          <ac:spMkLst>
            <pc:docMk/>
            <pc:sldMk cId="1549633217" sldId="536"/>
            <ac:spMk id="16" creationId="{C49B2CA5-7ECC-6ABC-DDEB-C5CC6BAD3C64}"/>
          </ac:spMkLst>
        </pc:spChg>
        <pc:spChg chg="mod">
          <ac:chgData name="Jacob Colegrove" userId="c37a86c6-1a09-47b1-8b87-05e62780f0ad" providerId="ADAL" clId="{355E4797-35DB-4B86-8E63-5FCF8C871B5E}" dt="2024-04-02T13:19:23.775" v="122" actId="6549"/>
          <ac:spMkLst>
            <pc:docMk/>
            <pc:sldMk cId="1549633217" sldId="536"/>
            <ac:spMk id="18" creationId="{623B51D2-A52D-0C70-2BD6-C2048683B825}"/>
          </ac:spMkLst>
        </pc:spChg>
        <pc:picChg chg="mod">
          <ac:chgData name="Jacob Colegrove" userId="c37a86c6-1a09-47b1-8b87-05e62780f0ad" providerId="ADAL" clId="{355E4797-35DB-4B86-8E63-5FCF8C871B5E}" dt="2024-04-02T12:53:27.261" v="5" actId="14826"/>
          <ac:picMkLst>
            <pc:docMk/>
            <pc:sldMk cId="1549633217" sldId="536"/>
            <ac:picMk id="22" creationId="{B105CDBF-84E3-F3CB-A576-2ABB4A1E3EDC}"/>
          </ac:picMkLst>
        </pc:picChg>
      </pc:sldChg>
      <pc:sldChg chg="modSp">
        <pc:chgData name="Jacob Colegrove" userId="c37a86c6-1a09-47b1-8b87-05e62780f0ad" providerId="ADAL" clId="{355E4797-35DB-4B86-8E63-5FCF8C871B5E}" dt="2024-04-02T12:53:57.407" v="15" actId="14826"/>
        <pc:sldMkLst>
          <pc:docMk/>
          <pc:sldMk cId="326736350" sldId="537"/>
        </pc:sldMkLst>
        <pc:picChg chg="mod">
          <ac:chgData name="Jacob Colegrove" userId="c37a86c6-1a09-47b1-8b87-05e62780f0ad" providerId="ADAL" clId="{355E4797-35DB-4B86-8E63-5FCF8C871B5E}" dt="2024-04-02T12:53:57.407" v="15" actId="14826"/>
          <ac:picMkLst>
            <pc:docMk/>
            <pc:sldMk cId="326736350" sldId="537"/>
            <ac:picMk id="13" creationId="{4E0A78BE-D87F-863B-4EFE-E74A57E3E72E}"/>
          </ac:picMkLst>
        </pc:picChg>
      </pc:sldChg>
      <pc:sldChg chg="modSp">
        <pc:chgData name="Jacob Colegrove" userId="c37a86c6-1a09-47b1-8b87-05e62780f0ad" providerId="ADAL" clId="{355E4797-35DB-4B86-8E63-5FCF8C871B5E}" dt="2024-04-02T12:54:09.815" v="16" actId="14826"/>
        <pc:sldMkLst>
          <pc:docMk/>
          <pc:sldMk cId="1364674686" sldId="538"/>
        </pc:sldMkLst>
        <pc:picChg chg="mod">
          <ac:chgData name="Jacob Colegrove" userId="c37a86c6-1a09-47b1-8b87-05e62780f0ad" providerId="ADAL" clId="{355E4797-35DB-4B86-8E63-5FCF8C871B5E}" dt="2024-04-02T12:54:09.815" v="16" actId="14826"/>
          <ac:picMkLst>
            <pc:docMk/>
            <pc:sldMk cId="1364674686" sldId="538"/>
            <ac:picMk id="9" creationId="{758C2D5B-1CC5-E0D0-382F-932D58979783}"/>
          </ac:picMkLst>
        </pc:picChg>
      </pc:sldChg>
      <pc:sldChg chg="modSp mod">
        <pc:chgData name="Jacob Colegrove" userId="c37a86c6-1a09-47b1-8b87-05e62780f0ad" providerId="ADAL" clId="{355E4797-35DB-4B86-8E63-5FCF8C871B5E}" dt="2024-04-02T12:55:24.205" v="18" actId="14826"/>
        <pc:sldMkLst>
          <pc:docMk/>
          <pc:sldMk cId="2583609172" sldId="542"/>
        </pc:sldMkLst>
        <pc:picChg chg="mod">
          <ac:chgData name="Jacob Colegrove" userId="c37a86c6-1a09-47b1-8b87-05e62780f0ad" providerId="ADAL" clId="{355E4797-35DB-4B86-8E63-5FCF8C871B5E}" dt="2024-04-02T12:55:24.205" v="18" actId="14826"/>
          <ac:picMkLst>
            <pc:docMk/>
            <pc:sldMk cId="2583609172" sldId="542"/>
            <ac:picMk id="17" creationId="{2B15467C-6CE0-73E5-04AB-A47E7A46FE3E}"/>
          </ac:picMkLst>
        </pc:picChg>
      </pc:sldChg>
      <pc:sldChg chg="addSp modSp mod">
        <pc:chgData name="Jacob Colegrove" userId="c37a86c6-1a09-47b1-8b87-05e62780f0ad" providerId="ADAL" clId="{355E4797-35DB-4B86-8E63-5FCF8C871B5E}" dt="2024-04-02T13:20:08.180" v="129" actId="20577"/>
        <pc:sldMkLst>
          <pc:docMk/>
          <pc:sldMk cId="1296163694" sldId="544"/>
        </pc:sldMkLst>
        <pc:spChg chg="mod ord">
          <ac:chgData name="Jacob Colegrove" userId="c37a86c6-1a09-47b1-8b87-05e62780f0ad" providerId="ADAL" clId="{355E4797-35DB-4B86-8E63-5FCF8C871B5E}" dt="2024-04-02T12:55:54.253" v="23"/>
          <ac:spMkLst>
            <pc:docMk/>
            <pc:sldMk cId="1296163694" sldId="544"/>
            <ac:spMk id="2" creationId="{2FF6267B-B303-D46A-32B2-B559868B672F}"/>
          </ac:spMkLst>
        </pc:spChg>
        <pc:spChg chg="mod ord">
          <ac:chgData name="Jacob Colegrove" userId="c37a86c6-1a09-47b1-8b87-05e62780f0ad" providerId="ADAL" clId="{355E4797-35DB-4B86-8E63-5FCF8C871B5E}" dt="2024-04-02T12:55:54.255" v="25"/>
          <ac:spMkLst>
            <pc:docMk/>
            <pc:sldMk cId="1296163694" sldId="544"/>
            <ac:spMk id="3" creationId="{8AA88166-FE40-05E5-C520-4AF8338F95CD}"/>
          </ac:spMkLst>
        </pc:spChg>
        <pc:spChg chg="mod ord">
          <ac:chgData name="Jacob Colegrove" userId="c37a86c6-1a09-47b1-8b87-05e62780f0ad" providerId="ADAL" clId="{355E4797-35DB-4B86-8E63-5FCF8C871B5E}" dt="2024-04-02T12:55:54.256" v="27"/>
          <ac:spMkLst>
            <pc:docMk/>
            <pc:sldMk cId="1296163694" sldId="544"/>
            <ac:spMk id="4" creationId="{1C92DCFB-3632-7148-6177-3BEA34E47910}"/>
          </ac:spMkLst>
        </pc:spChg>
        <pc:spChg chg="mod ord">
          <ac:chgData name="Jacob Colegrove" userId="c37a86c6-1a09-47b1-8b87-05e62780f0ad" providerId="ADAL" clId="{355E4797-35DB-4B86-8E63-5FCF8C871B5E}" dt="2024-04-02T12:55:54.257" v="29"/>
          <ac:spMkLst>
            <pc:docMk/>
            <pc:sldMk cId="1296163694" sldId="544"/>
            <ac:spMk id="5" creationId="{32FF5E9C-A46A-88EF-F951-90D66D511943}"/>
          </ac:spMkLst>
        </pc:spChg>
        <pc:spChg chg="mod ord">
          <ac:chgData name="Jacob Colegrove" userId="c37a86c6-1a09-47b1-8b87-05e62780f0ad" providerId="ADAL" clId="{355E4797-35DB-4B86-8E63-5FCF8C871B5E}" dt="2024-04-02T12:55:54.259" v="31"/>
          <ac:spMkLst>
            <pc:docMk/>
            <pc:sldMk cId="1296163694" sldId="544"/>
            <ac:spMk id="6" creationId="{1051B432-DB85-95E1-2E9A-231B9AA807B0}"/>
          </ac:spMkLst>
        </pc:spChg>
        <pc:spChg chg="mod ord">
          <ac:chgData name="Jacob Colegrove" userId="c37a86c6-1a09-47b1-8b87-05e62780f0ad" providerId="ADAL" clId="{355E4797-35DB-4B86-8E63-5FCF8C871B5E}" dt="2024-04-02T12:55:54.260" v="33"/>
          <ac:spMkLst>
            <pc:docMk/>
            <pc:sldMk cId="1296163694" sldId="544"/>
            <ac:spMk id="7" creationId="{38D1CA21-FF7C-9A9A-2CB0-F6E9A424B0AA}"/>
          </ac:spMkLst>
        </pc:spChg>
        <pc:spChg chg="mod ord">
          <ac:chgData name="Jacob Colegrove" userId="c37a86c6-1a09-47b1-8b87-05e62780f0ad" providerId="ADAL" clId="{355E4797-35DB-4B86-8E63-5FCF8C871B5E}" dt="2024-04-02T12:55:54.262" v="35"/>
          <ac:spMkLst>
            <pc:docMk/>
            <pc:sldMk cId="1296163694" sldId="544"/>
            <ac:spMk id="8" creationId="{123EB357-0A71-FE14-D160-CAABC65AC42C}"/>
          </ac:spMkLst>
        </pc:spChg>
        <pc:spChg chg="mod ord">
          <ac:chgData name="Jacob Colegrove" userId="c37a86c6-1a09-47b1-8b87-05e62780f0ad" providerId="ADAL" clId="{355E4797-35DB-4B86-8E63-5FCF8C871B5E}" dt="2024-04-02T12:55:54.263" v="37"/>
          <ac:spMkLst>
            <pc:docMk/>
            <pc:sldMk cId="1296163694" sldId="544"/>
            <ac:spMk id="9" creationId="{0737A93F-F7B8-68F3-F506-A756049EF6D9}"/>
          </ac:spMkLst>
        </pc:spChg>
        <pc:spChg chg="mod ord">
          <ac:chgData name="Jacob Colegrove" userId="c37a86c6-1a09-47b1-8b87-05e62780f0ad" providerId="ADAL" clId="{355E4797-35DB-4B86-8E63-5FCF8C871B5E}" dt="2024-04-02T12:55:54.265" v="39"/>
          <ac:spMkLst>
            <pc:docMk/>
            <pc:sldMk cId="1296163694" sldId="544"/>
            <ac:spMk id="10" creationId="{0ED7EFED-AC83-0945-791F-914D4D2C6AD4}"/>
          </ac:spMkLst>
        </pc:spChg>
        <pc:spChg chg="mod ord">
          <ac:chgData name="Jacob Colegrove" userId="c37a86c6-1a09-47b1-8b87-05e62780f0ad" providerId="ADAL" clId="{355E4797-35DB-4B86-8E63-5FCF8C871B5E}" dt="2024-04-02T12:55:54.266" v="41"/>
          <ac:spMkLst>
            <pc:docMk/>
            <pc:sldMk cId="1296163694" sldId="544"/>
            <ac:spMk id="11" creationId="{D05FF95E-14BA-6B88-7F6A-6972E3C79192}"/>
          </ac:spMkLst>
        </pc:spChg>
        <pc:spChg chg="mod ord">
          <ac:chgData name="Jacob Colegrove" userId="c37a86c6-1a09-47b1-8b87-05e62780f0ad" providerId="ADAL" clId="{355E4797-35DB-4B86-8E63-5FCF8C871B5E}" dt="2024-04-02T12:55:54.277" v="57"/>
          <ac:spMkLst>
            <pc:docMk/>
            <pc:sldMk cId="1296163694" sldId="544"/>
            <ac:spMk id="12" creationId="{896A3013-5735-0D3E-135E-703F95451A5D}"/>
          </ac:spMkLst>
        </pc:spChg>
        <pc:spChg chg="mod ord">
          <ac:chgData name="Jacob Colegrove" userId="c37a86c6-1a09-47b1-8b87-05e62780f0ad" providerId="ADAL" clId="{355E4797-35DB-4B86-8E63-5FCF8C871B5E}" dt="2024-04-02T12:56:07.968" v="82" actId="1076"/>
          <ac:spMkLst>
            <pc:docMk/>
            <pc:sldMk cId="1296163694" sldId="544"/>
            <ac:spMk id="13" creationId="{4976FB20-0C55-8BFC-73B2-B3320CAE174C}"/>
          </ac:spMkLst>
        </pc:spChg>
        <pc:spChg chg="mod ord">
          <ac:chgData name="Jacob Colegrove" userId="c37a86c6-1a09-47b1-8b87-05e62780f0ad" providerId="ADAL" clId="{355E4797-35DB-4B86-8E63-5FCF8C871B5E}" dt="2024-04-02T12:56:02.420" v="81" actId="20577"/>
          <ac:spMkLst>
            <pc:docMk/>
            <pc:sldMk cId="1296163694" sldId="544"/>
            <ac:spMk id="16" creationId="{74F0F9C2-2194-517B-EFD2-3B8C51C2A3E7}"/>
          </ac:spMkLst>
        </pc:spChg>
        <pc:spChg chg="mod ord">
          <ac:chgData name="Jacob Colegrove" userId="c37a86c6-1a09-47b1-8b87-05e62780f0ad" providerId="ADAL" clId="{355E4797-35DB-4B86-8E63-5FCF8C871B5E}" dt="2024-04-02T12:55:54.273" v="51"/>
          <ac:spMkLst>
            <pc:docMk/>
            <pc:sldMk cId="1296163694" sldId="544"/>
            <ac:spMk id="17" creationId="{61475C6F-DAB7-4954-915A-6C466056AB29}"/>
          </ac:spMkLst>
        </pc:spChg>
        <pc:spChg chg="mod ord">
          <ac:chgData name="Jacob Colegrove" userId="c37a86c6-1a09-47b1-8b87-05e62780f0ad" providerId="ADAL" clId="{355E4797-35DB-4B86-8E63-5FCF8C871B5E}" dt="2024-04-02T13:20:08.180" v="129" actId="20577"/>
          <ac:spMkLst>
            <pc:docMk/>
            <pc:sldMk cId="1296163694" sldId="544"/>
            <ac:spMk id="18" creationId="{1C035B18-7B40-5021-435C-983B9A769C54}"/>
          </ac:spMkLst>
        </pc:spChg>
        <pc:spChg chg="mod ord">
          <ac:chgData name="Jacob Colegrove" userId="c37a86c6-1a09-47b1-8b87-05e62780f0ad" providerId="ADAL" clId="{355E4797-35DB-4B86-8E63-5FCF8C871B5E}" dt="2024-04-02T12:55:54.276" v="55"/>
          <ac:spMkLst>
            <pc:docMk/>
            <pc:sldMk cId="1296163694" sldId="544"/>
            <ac:spMk id="19" creationId="{A3F419E1-D940-F1EA-97FC-7D78EF4B4729}"/>
          </ac:spMkLst>
        </pc:spChg>
        <pc:graphicFrameChg chg="add mod ord modVis replST">
          <ac:chgData name="Jacob Colegrove" userId="c37a86c6-1a09-47b1-8b87-05e62780f0ad" providerId="ADAL" clId="{355E4797-35DB-4B86-8E63-5FCF8C871B5E}" dt="2024-04-02T12:55:54.345" v="76"/>
          <ac:graphicFrameMkLst>
            <pc:docMk/>
            <pc:sldMk cId="1296163694" sldId="544"/>
            <ac:graphicFrameMk id="14" creationId="{412EAD98-3A25-4B89-4EA9-BF370C194AAE}"/>
          </ac:graphicFrameMkLst>
        </pc:graphicFrameChg>
        <pc:picChg chg="mod ord">
          <ac:chgData name="Jacob Colegrove" userId="c37a86c6-1a09-47b1-8b87-05e62780f0ad" providerId="ADAL" clId="{355E4797-35DB-4B86-8E63-5FCF8C871B5E}" dt="2024-04-02T12:55:54.267" v="43"/>
          <ac:picMkLst>
            <pc:docMk/>
            <pc:sldMk cId="1296163694" sldId="544"/>
            <ac:picMk id="21" creationId="{7ED7A6E7-3403-B184-BABB-CF4273D35ED1}"/>
          </ac:picMkLst>
        </pc:picChg>
        <pc:picChg chg="mod ord">
          <ac:chgData name="Jacob Colegrove" userId="c37a86c6-1a09-47b1-8b87-05e62780f0ad" providerId="ADAL" clId="{355E4797-35DB-4B86-8E63-5FCF8C871B5E}" dt="2024-04-02T12:55:54.250" v="21"/>
          <ac:picMkLst>
            <pc:docMk/>
            <pc:sldMk cId="1296163694" sldId="544"/>
            <ac:picMk id="22" creationId="{D14A8DF5-2846-3C07-E32F-ECB853A5DA90}"/>
          </ac:picMkLst>
        </pc:picChg>
        <pc:picChg chg="mod ord">
          <ac:chgData name="Jacob Colegrove" userId="c37a86c6-1a09-47b1-8b87-05e62780f0ad" providerId="ADAL" clId="{355E4797-35DB-4B86-8E63-5FCF8C871B5E}" dt="2024-04-02T12:55:54.270" v="47"/>
          <ac:picMkLst>
            <pc:docMk/>
            <pc:sldMk cId="1296163694" sldId="544"/>
            <ac:picMk id="29" creationId="{3FC0F4CF-AB73-E384-9979-68227F485C5B}"/>
          </ac:picMkLst>
        </pc:picChg>
        <pc:picChg chg="mod ord">
          <ac:chgData name="Jacob Colegrove" userId="c37a86c6-1a09-47b1-8b87-05e62780f0ad" providerId="ADAL" clId="{355E4797-35DB-4B86-8E63-5FCF8C871B5E}" dt="2024-04-02T12:55:54.269" v="45"/>
          <ac:picMkLst>
            <pc:docMk/>
            <pc:sldMk cId="1296163694" sldId="544"/>
            <ac:picMk id="31" creationId="{2ED701E7-7A3F-076A-EBBD-01978B16E0E2}"/>
          </ac:picMkLst>
        </pc:picChg>
      </pc:sldChg>
      <pc:sldChg chg="modSp mod">
        <pc:chgData name="Jacob Colegrove" userId="c37a86c6-1a09-47b1-8b87-05e62780f0ad" providerId="ADAL" clId="{355E4797-35DB-4B86-8E63-5FCF8C871B5E}" dt="2024-04-02T13:21:05.210" v="139" actId="1038"/>
        <pc:sldMkLst>
          <pc:docMk/>
          <pc:sldMk cId="2887306973" sldId="549"/>
        </pc:sldMkLst>
        <pc:spChg chg="mod">
          <ac:chgData name="Jacob Colegrove" userId="c37a86c6-1a09-47b1-8b87-05e62780f0ad" providerId="ADAL" clId="{355E4797-35DB-4B86-8E63-5FCF8C871B5E}" dt="2024-04-02T13:21:05.210" v="139" actId="1038"/>
          <ac:spMkLst>
            <pc:docMk/>
            <pc:sldMk cId="2887306973" sldId="549"/>
            <ac:spMk id="13" creationId="{C54CFB9E-3CD9-AF6C-3482-F3C211DA7A45}"/>
          </ac:spMkLst>
        </pc:spChg>
        <pc:spChg chg="mod">
          <ac:chgData name="Jacob Colegrove" userId="c37a86c6-1a09-47b1-8b87-05e62780f0ad" providerId="ADAL" clId="{355E4797-35DB-4B86-8E63-5FCF8C871B5E}" dt="2024-04-02T13:20:59.439" v="135" actId="20577"/>
          <ac:spMkLst>
            <pc:docMk/>
            <pc:sldMk cId="2887306973" sldId="549"/>
            <ac:spMk id="18" creationId="{F257F779-752B-D38C-AC51-5C9F5281C019}"/>
          </ac:spMkLst>
        </pc:spChg>
      </pc:sldChg>
      <pc:sldChg chg="modSp mod">
        <pc:chgData name="Jacob Colegrove" userId="c37a86c6-1a09-47b1-8b87-05e62780f0ad" providerId="ADAL" clId="{355E4797-35DB-4B86-8E63-5FCF8C871B5E}" dt="2024-04-02T12:58:42.464" v="83" actId="20577"/>
        <pc:sldMkLst>
          <pc:docMk/>
          <pc:sldMk cId="2388967292" sldId="551"/>
        </pc:sldMkLst>
        <pc:spChg chg="mod">
          <ac:chgData name="Jacob Colegrove" userId="c37a86c6-1a09-47b1-8b87-05e62780f0ad" providerId="ADAL" clId="{355E4797-35DB-4B86-8E63-5FCF8C871B5E}" dt="2024-04-02T12:58:42.464" v="83" actId="20577"/>
          <ac:spMkLst>
            <pc:docMk/>
            <pc:sldMk cId="2388967292" sldId="551"/>
            <ac:spMk id="5" creationId="{F6025273-9537-2BF9-DDCE-F5C202F47E26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4">
  <dgm:title val=""/>
  <dgm:desc val=""/>
  <dgm:catLst>
    <dgm:cat type="accent2" pri="11400"/>
  </dgm:catLst>
  <dgm:styleLbl name="node0">
    <dgm:fillClrLst meth="cycle">
      <a:schemeClr val="accent2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2">
        <a:shade val="50000"/>
      </a:schemeClr>
      <a:schemeClr val="accent2">
        <a:tint val="45000"/>
      </a:schemeClr>
    </dgm:fillClrLst>
    <dgm:linClrLst meth="cycle">
      <a:schemeClr val="accent2">
        <a:shade val="50000"/>
      </a:schemeClr>
      <a:schemeClr val="accent2">
        <a:tint val="45000"/>
      </a:schemeClr>
    </dgm:linClrLst>
    <dgm:effectClrLst/>
    <dgm:txLinClrLst/>
    <dgm:txFillClrLst/>
    <dgm:txEffectClrLst/>
  </dgm:styleLbl>
  <dgm:styleLbl name="lnNode1">
    <dgm:fillClrLst meth="cycle">
      <a:schemeClr val="accent2">
        <a:shade val="50000"/>
      </a:schemeClr>
      <a:schemeClr val="accent2">
        <a:tint val="4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2">
        <a:shade val="80000"/>
        <a:alpha val="50000"/>
      </a:schemeClr>
      <a:schemeClr val="accent2">
        <a:tint val="45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2">
        <a:shade val="90000"/>
      </a:schemeClr>
      <a:schemeClr val="accent2">
        <a:tint val="50000"/>
      </a:schemeClr>
    </dgm:fillClrLst>
    <dgm:linClrLst meth="cycle"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2">
        <a:shade val="50000"/>
      </a:schemeClr>
      <a:schemeClr val="accent2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55000"/>
      </a:schemeClr>
    </dgm:fillClrLst>
    <dgm:linClrLst meth="repeat">
      <a:schemeClr val="accent2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55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E901FF8-BBAF-4AFA-B2A8-32B38AFCBAFE}" type="doc">
      <dgm:prSet loTypeId="urn:microsoft.com/office/officeart/2008/layout/LinedList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3591D07A-D824-4519-B860-1993164DF9FD}">
      <dgm:prSet phldrT="[Text]" custT="1"/>
      <dgm:spPr/>
      <dgm:t>
        <a:bodyPr/>
        <a:lstStyle/>
        <a:p>
          <a:r>
            <a:rPr lang="en-US" sz="1600" dirty="0">
              <a:solidFill>
                <a:schemeClr val="tx2"/>
              </a:solidFill>
            </a:rPr>
            <a:t>Data Types Supported</a:t>
          </a:r>
        </a:p>
      </dgm:t>
    </dgm:pt>
    <dgm:pt modelId="{C9F516F4-2446-4927-AF2B-12B625353D62}" type="parTrans" cxnId="{0057E69E-9140-45C3-AB0C-064E71A5934C}">
      <dgm:prSet/>
      <dgm:spPr/>
      <dgm:t>
        <a:bodyPr/>
        <a:lstStyle/>
        <a:p>
          <a:endParaRPr lang="en-US"/>
        </a:p>
      </dgm:t>
    </dgm:pt>
    <dgm:pt modelId="{DAFCEB3B-F022-4C90-B99C-222CAF5FD197}" type="sibTrans" cxnId="{0057E69E-9140-45C3-AB0C-064E71A5934C}">
      <dgm:prSet/>
      <dgm:spPr/>
      <dgm:t>
        <a:bodyPr/>
        <a:lstStyle/>
        <a:p>
          <a:endParaRPr lang="en-US"/>
        </a:p>
      </dgm:t>
    </dgm:pt>
    <dgm:pt modelId="{70561FBF-3944-43E0-A0B0-9A9BA87045F7}">
      <dgm:prSet phldrT="[Text]" custT="1"/>
      <dgm:spPr/>
      <dgm:t>
        <a:bodyPr anchor="ctr"/>
        <a:lstStyle/>
        <a:p>
          <a:r>
            <a:rPr lang="en-US" sz="1800" dirty="0"/>
            <a:t>Boolean</a:t>
          </a:r>
        </a:p>
      </dgm:t>
    </dgm:pt>
    <dgm:pt modelId="{21C3F7E5-13D0-49E4-A271-DB287BF43E37}" type="parTrans" cxnId="{988F6A7E-58B5-46C1-9BB5-C01DA9F22F37}">
      <dgm:prSet/>
      <dgm:spPr/>
      <dgm:t>
        <a:bodyPr/>
        <a:lstStyle/>
        <a:p>
          <a:endParaRPr lang="en-US"/>
        </a:p>
      </dgm:t>
    </dgm:pt>
    <dgm:pt modelId="{5378406E-F6DB-4AB7-AB8E-D1C73A07C5D4}" type="sibTrans" cxnId="{988F6A7E-58B5-46C1-9BB5-C01DA9F22F37}">
      <dgm:prSet/>
      <dgm:spPr/>
      <dgm:t>
        <a:bodyPr/>
        <a:lstStyle/>
        <a:p>
          <a:endParaRPr lang="en-US"/>
        </a:p>
      </dgm:t>
    </dgm:pt>
    <dgm:pt modelId="{1170F71F-A361-4BB3-B82F-7CA44FB94FCA}">
      <dgm:prSet phldrT="[Text]" custT="1"/>
      <dgm:spPr/>
      <dgm:t>
        <a:bodyPr anchor="ctr"/>
        <a:lstStyle/>
        <a:p>
          <a:r>
            <a:rPr lang="en-US" sz="1800" dirty="0"/>
            <a:t>Integer</a:t>
          </a:r>
        </a:p>
      </dgm:t>
    </dgm:pt>
    <dgm:pt modelId="{7C8A726E-177C-4D74-8615-DB7E0C028D7D}" type="parTrans" cxnId="{DA9F9C03-D721-4923-90A1-6542F8EFE3CD}">
      <dgm:prSet/>
      <dgm:spPr/>
      <dgm:t>
        <a:bodyPr/>
        <a:lstStyle/>
        <a:p>
          <a:endParaRPr lang="en-US"/>
        </a:p>
      </dgm:t>
    </dgm:pt>
    <dgm:pt modelId="{9D7531FA-DE5C-4F53-83FF-647CC27E4B8F}" type="sibTrans" cxnId="{DA9F9C03-D721-4923-90A1-6542F8EFE3CD}">
      <dgm:prSet/>
      <dgm:spPr/>
      <dgm:t>
        <a:bodyPr/>
        <a:lstStyle/>
        <a:p>
          <a:endParaRPr lang="en-US"/>
        </a:p>
      </dgm:t>
    </dgm:pt>
    <dgm:pt modelId="{CCE02ACB-B8FF-443D-98CC-901DBB19C3DE}">
      <dgm:prSet phldrT="[Text]" custT="1"/>
      <dgm:spPr/>
      <dgm:t>
        <a:bodyPr anchor="ctr"/>
        <a:lstStyle/>
        <a:p>
          <a:r>
            <a:rPr lang="en-US" sz="1800" dirty="0"/>
            <a:t>Long</a:t>
          </a:r>
        </a:p>
      </dgm:t>
    </dgm:pt>
    <dgm:pt modelId="{A2FADE22-5189-4383-931F-216E4BD3FDCB}" type="parTrans" cxnId="{F1B458DD-4A9C-4186-BD3E-D987D3972F0B}">
      <dgm:prSet/>
      <dgm:spPr/>
      <dgm:t>
        <a:bodyPr/>
        <a:lstStyle/>
        <a:p>
          <a:endParaRPr lang="en-US"/>
        </a:p>
      </dgm:t>
    </dgm:pt>
    <dgm:pt modelId="{96B2FF3D-2F1B-42ED-923D-6DADAD1E00F7}" type="sibTrans" cxnId="{F1B458DD-4A9C-4186-BD3E-D987D3972F0B}">
      <dgm:prSet/>
      <dgm:spPr/>
      <dgm:t>
        <a:bodyPr/>
        <a:lstStyle/>
        <a:p>
          <a:endParaRPr lang="en-US"/>
        </a:p>
      </dgm:t>
    </dgm:pt>
    <dgm:pt modelId="{1295AEC3-460A-4F55-B05C-D74E03BD4D4A}">
      <dgm:prSet phldrT="[Text]" custT="1"/>
      <dgm:spPr/>
      <dgm:t>
        <a:bodyPr anchor="ctr"/>
        <a:lstStyle/>
        <a:p>
          <a:r>
            <a:rPr lang="en-US" sz="1800" dirty="0"/>
            <a:t>Float</a:t>
          </a:r>
        </a:p>
      </dgm:t>
    </dgm:pt>
    <dgm:pt modelId="{4879C8C3-D7A0-4721-9D4A-395F05F70656}" type="parTrans" cxnId="{52A99C22-95A8-4DDC-B86D-95E594F470D9}">
      <dgm:prSet/>
      <dgm:spPr/>
      <dgm:t>
        <a:bodyPr/>
        <a:lstStyle/>
        <a:p>
          <a:endParaRPr lang="en-US"/>
        </a:p>
      </dgm:t>
    </dgm:pt>
    <dgm:pt modelId="{1CA3FFDF-AB28-4508-8619-F8F11F73BF84}" type="sibTrans" cxnId="{52A99C22-95A8-4DDC-B86D-95E594F470D9}">
      <dgm:prSet/>
      <dgm:spPr/>
      <dgm:t>
        <a:bodyPr/>
        <a:lstStyle/>
        <a:p>
          <a:endParaRPr lang="en-US"/>
        </a:p>
      </dgm:t>
    </dgm:pt>
    <dgm:pt modelId="{2EF32E95-78E1-4455-A301-B7A884A9CA01}" type="pres">
      <dgm:prSet presAssocID="{BE901FF8-BBAF-4AFA-B2A8-32B38AFCBAFE}" presName="vert0" presStyleCnt="0">
        <dgm:presLayoutVars>
          <dgm:dir/>
          <dgm:animOne val="branch"/>
          <dgm:animLvl val="lvl"/>
        </dgm:presLayoutVars>
      </dgm:prSet>
      <dgm:spPr/>
    </dgm:pt>
    <dgm:pt modelId="{C4C13ED3-D3A0-4315-9D5D-85BABA27B016}" type="pres">
      <dgm:prSet presAssocID="{3591D07A-D824-4519-B860-1993164DF9FD}" presName="thickLine" presStyleLbl="alignNode1" presStyleIdx="0" presStyleCnt="1"/>
      <dgm:spPr/>
    </dgm:pt>
    <dgm:pt modelId="{3E331361-FBB8-4064-BD56-1C16DE00E9D4}" type="pres">
      <dgm:prSet presAssocID="{3591D07A-D824-4519-B860-1993164DF9FD}" presName="horz1" presStyleCnt="0"/>
      <dgm:spPr/>
    </dgm:pt>
    <dgm:pt modelId="{1EA71D56-85DF-4D54-9B21-A3D3F455259B}" type="pres">
      <dgm:prSet presAssocID="{3591D07A-D824-4519-B860-1993164DF9FD}" presName="tx1" presStyleLbl="revTx" presStyleIdx="0" presStyleCnt="5" custScaleX="259393"/>
      <dgm:spPr/>
    </dgm:pt>
    <dgm:pt modelId="{81581667-0701-47F0-847E-EE4DD183EAB0}" type="pres">
      <dgm:prSet presAssocID="{3591D07A-D824-4519-B860-1993164DF9FD}" presName="vert1" presStyleCnt="0"/>
      <dgm:spPr/>
    </dgm:pt>
    <dgm:pt modelId="{F903D8B1-69F0-428F-84EB-6B5A816B651A}" type="pres">
      <dgm:prSet presAssocID="{70561FBF-3944-43E0-A0B0-9A9BA87045F7}" presName="vertSpace2a" presStyleCnt="0"/>
      <dgm:spPr/>
    </dgm:pt>
    <dgm:pt modelId="{CB207C62-72D1-451E-8386-D8D564CA17AE}" type="pres">
      <dgm:prSet presAssocID="{70561FBF-3944-43E0-A0B0-9A9BA87045F7}" presName="horz2" presStyleCnt="0"/>
      <dgm:spPr/>
    </dgm:pt>
    <dgm:pt modelId="{BF3829F1-CF72-409F-A77E-0040B4F43822}" type="pres">
      <dgm:prSet presAssocID="{70561FBF-3944-43E0-A0B0-9A9BA87045F7}" presName="horzSpace2" presStyleCnt="0"/>
      <dgm:spPr/>
    </dgm:pt>
    <dgm:pt modelId="{F74AB7C3-C0CE-42A8-ADCD-E354E108D765}" type="pres">
      <dgm:prSet presAssocID="{70561FBF-3944-43E0-A0B0-9A9BA87045F7}" presName="tx2" presStyleLbl="revTx" presStyleIdx="1" presStyleCnt="5" custScaleX="97174"/>
      <dgm:spPr>
        <a:prstGeom prst="borderCallout2">
          <a:avLst/>
        </a:prstGeom>
      </dgm:spPr>
    </dgm:pt>
    <dgm:pt modelId="{673ECEB4-DF66-471E-B8AB-AD62507899D6}" type="pres">
      <dgm:prSet presAssocID="{70561FBF-3944-43E0-A0B0-9A9BA87045F7}" presName="vert2" presStyleCnt="0"/>
      <dgm:spPr/>
    </dgm:pt>
    <dgm:pt modelId="{169FBE19-E715-439E-AEA0-F69EAD6D0374}" type="pres">
      <dgm:prSet presAssocID="{70561FBF-3944-43E0-A0B0-9A9BA87045F7}" presName="thinLine2b" presStyleLbl="callout" presStyleIdx="0" presStyleCnt="4"/>
      <dgm:spPr/>
    </dgm:pt>
    <dgm:pt modelId="{2D8BFC06-7D80-4FC8-B7B1-BF8FFF53707E}" type="pres">
      <dgm:prSet presAssocID="{70561FBF-3944-43E0-A0B0-9A9BA87045F7}" presName="vertSpace2b" presStyleCnt="0"/>
      <dgm:spPr/>
    </dgm:pt>
    <dgm:pt modelId="{A96CE797-A639-4F1E-928C-481D53B7AE3F}" type="pres">
      <dgm:prSet presAssocID="{1170F71F-A361-4BB3-B82F-7CA44FB94FCA}" presName="horz2" presStyleCnt="0"/>
      <dgm:spPr/>
    </dgm:pt>
    <dgm:pt modelId="{E9323B10-6D09-4269-A201-655FFA573980}" type="pres">
      <dgm:prSet presAssocID="{1170F71F-A361-4BB3-B82F-7CA44FB94FCA}" presName="horzSpace2" presStyleCnt="0"/>
      <dgm:spPr/>
    </dgm:pt>
    <dgm:pt modelId="{4A98FA18-6FD4-4F43-8879-7E667836F0B2}" type="pres">
      <dgm:prSet presAssocID="{1170F71F-A361-4BB3-B82F-7CA44FB94FCA}" presName="tx2" presStyleLbl="revTx" presStyleIdx="2" presStyleCnt="5" custScaleX="97174"/>
      <dgm:spPr/>
    </dgm:pt>
    <dgm:pt modelId="{06BFCF40-0714-4EF7-93B7-0079E195E258}" type="pres">
      <dgm:prSet presAssocID="{1170F71F-A361-4BB3-B82F-7CA44FB94FCA}" presName="vert2" presStyleCnt="0"/>
      <dgm:spPr/>
    </dgm:pt>
    <dgm:pt modelId="{18BC2190-48FF-48B9-9C3F-5331CFE4C0E1}" type="pres">
      <dgm:prSet presAssocID="{1170F71F-A361-4BB3-B82F-7CA44FB94FCA}" presName="thinLine2b" presStyleLbl="callout" presStyleIdx="1" presStyleCnt="4"/>
      <dgm:spPr/>
    </dgm:pt>
    <dgm:pt modelId="{8FD45DEC-721B-4C9B-A5DC-6DA847227029}" type="pres">
      <dgm:prSet presAssocID="{1170F71F-A361-4BB3-B82F-7CA44FB94FCA}" presName="vertSpace2b" presStyleCnt="0"/>
      <dgm:spPr/>
    </dgm:pt>
    <dgm:pt modelId="{E5D55C69-18FF-4006-85FC-E96CA286270D}" type="pres">
      <dgm:prSet presAssocID="{1295AEC3-460A-4F55-B05C-D74E03BD4D4A}" presName="horz2" presStyleCnt="0"/>
      <dgm:spPr/>
    </dgm:pt>
    <dgm:pt modelId="{C71DDA7A-95DE-43D3-AFDD-51142F31C09F}" type="pres">
      <dgm:prSet presAssocID="{1295AEC3-460A-4F55-B05C-D74E03BD4D4A}" presName="horzSpace2" presStyleCnt="0"/>
      <dgm:spPr/>
    </dgm:pt>
    <dgm:pt modelId="{78ED0FCB-A21F-4819-891A-27814A2F2B73}" type="pres">
      <dgm:prSet presAssocID="{1295AEC3-460A-4F55-B05C-D74E03BD4D4A}" presName="tx2" presStyleLbl="revTx" presStyleIdx="3" presStyleCnt="5" custScaleX="97174"/>
      <dgm:spPr/>
    </dgm:pt>
    <dgm:pt modelId="{6F5BC1ED-1BF1-4BCA-9A50-E3901C9BEACE}" type="pres">
      <dgm:prSet presAssocID="{1295AEC3-460A-4F55-B05C-D74E03BD4D4A}" presName="vert2" presStyleCnt="0"/>
      <dgm:spPr/>
    </dgm:pt>
    <dgm:pt modelId="{F0EBC1F2-5A41-4D12-9455-7A5C54330513}" type="pres">
      <dgm:prSet presAssocID="{1295AEC3-460A-4F55-B05C-D74E03BD4D4A}" presName="thinLine2b" presStyleLbl="callout" presStyleIdx="2" presStyleCnt="4"/>
      <dgm:spPr/>
    </dgm:pt>
    <dgm:pt modelId="{94DC5FAF-BD5F-4940-BBC0-71C9B9E22E23}" type="pres">
      <dgm:prSet presAssocID="{1295AEC3-460A-4F55-B05C-D74E03BD4D4A}" presName="vertSpace2b" presStyleCnt="0"/>
      <dgm:spPr/>
    </dgm:pt>
    <dgm:pt modelId="{EFD56F45-4774-4B05-9611-1DAE7317A1F2}" type="pres">
      <dgm:prSet presAssocID="{CCE02ACB-B8FF-443D-98CC-901DBB19C3DE}" presName="horz2" presStyleCnt="0"/>
      <dgm:spPr/>
    </dgm:pt>
    <dgm:pt modelId="{E5F60BF8-37CC-4C6C-8744-68781A5AF260}" type="pres">
      <dgm:prSet presAssocID="{CCE02ACB-B8FF-443D-98CC-901DBB19C3DE}" presName="horzSpace2" presStyleCnt="0"/>
      <dgm:spPr/>
    </dgm:pt>
    <dgm:pt modelId="{AAD6F35A-ED80-46BA-A77B-3FB906F59183}" type="pres">
      <dgm:prSet presAssocID="{CCE02ACB-B8FF-443D-98CC-901DBB19C3DE}" presName="tx2" presStyleLbl="revTx" presStyleIdx="4" presStyleCnt="5" custScaleX="97174"/>
      <dgm:spPr/>
    </dgm:pt>
    <dgm:pt modelId="{EFBB13B6-B3FF-4F11-8233-4032D576033A}" type="pres">
      <dgm:prSet presAssocID="{CCE02ACB-B8FF-443D-98CC-901DBB19C3DE}" presName="vert2" presStyleCnt="0"/>
      <dgm:spPr/>
    </dgm:pt>
    <dgm:pt modelId="{449DB954-DAAE-429F-84F9-21EB5265CA96}" type="pres">
      <dgm:prSet presAssocID="{CCE02ACB-B8FF-443D-98CC-901DBB19C3DE}" presName="thinLine2b" presStyleLbl="callout" presStyleIdx="3" presStyleCnt="4"/>
      <dgm:spPr/>
    </dgm:pt>
    <dgm:pt modelId="{9E53F462-51BC-4BD8-B0E4-22D8C9B74FC8}" type="pres">
      <dgm:prSet presAssocID="{CCE02ACB-B8FF-443D-98CC-901DBB19C3DE}" presName="vertSpace2b" presStyleCnt="0"/>
      <dgm:spPr/>
    </dgm:pt>
  </dgm:ptLst>
  <dgm:cxnLst>
    <dgm:cxn modelId="{DA9F9C03-D721-4923-90A1-6542F8EFE3CD}" srcId="{3591D07A-D824-4519-B860-1993164DF9FD}" destId="{1170F71F-A361-4BB3-B82F-7CA44FB94FCA}" srcOrd="1" destOrd="0" parTransId="{7C8A726E-177C-4D74-8615-DB7E0C028D7D}" sibTransId="{9D7531FA-DE5C-4F53-83FF-647CC27E4B8F}"/>
    <dgm:cxn modelId="{86B05C08-0380-44DD-BC19-B566B3F71EAA}" type="presOf" srcId="{CCE02ACB-B8FF-443D-98CC-901DBB19C3DE}" destId="{AAD6F35A-ED80-46BA-A77B-3FB906F59183}" srcOrd="0" destOrd="0" presId="urn:microsoft.com/office/officeart/2008/layout/LinedList"/>
    <dgm:cxn modelId="{52A99C22-95A8-4DDC-B86D-95E594F470D9}" srcId="{3591D07A-D824-4519-B860-1993164DF9FD}" destId="{1295AEC3-460A-4F55-B05C-D74E03BD4D4A}" srcOrd="2" destOrd="0" parTransId="{4879C8C3-D7A0-4721-9D4A-395F05F70656}" sibTransId="{1CA3FFDF-AB28-4508-8619-F8F11F73BF84}"/>
    <dgm:cxn modelId="{4D21BA2D-4870-4013-9FE7-390DDD0D8DB3}" type="presOf" srcId="{BE901FF8-BBAF-4AFA-B2A8-32B38AFCBAFE}" destId="{2EF32E95-78E1-4455-A301-B7A884A9CA01}" srcOrd="0" destOrd="0" presId="urn:microsoft.com/office/officeart/2008/layout/LinedList"/>
    <dgm:cxn modelId="{EDED8156-213F-46B7-9F03-5EB82AB46D5B}" type="presOf" srcId="{70561FBF-3944-43E0-A0B0-9A9BA87045F7}" destId="{F74AB7C3-C0CE-42A8-ADCD-E354E108D765}" srcOrd="0" destOrd="0" presId="urn:microsoft.com/office/officeart/2008/layout/LinedList"/>
    <dgm:cxn modelId="{988F6A7E-58B5-46C1-9BB5-C01DA9F22F37}" srcId="{3591D07A-D824-4519-B860-1993164DF9FD}" destId="{70561FBF-3944-43E0-A0B0-9A9BA87045F7}" srcOrd="0" destOrd="0" parTransId="{21C3F7E5-13D0-49E4-A271-DB287BF43E37}" sibTransId="{5378406E-F6DB-4AB7-AB8E-D1C73A07C5D4}"/>
    <dgm:cxn modelId="{0057E69E-9140-45C3-AB0C-064E71A5934C}" srcId="{BE901FF8-BBAF-4AFA-B2A8-32B38AFCBAFE}" destId="{3591D07A-D824-4519-B860-1993164DF9FD}" srcOrd="0" destOrd="0" parTransId="{C9F516F4-2446-4927-AF2B-12B625353D62}" sibTransId="{DAFCEB3B-F022-4C90-B99C-222CAF5FD197}"/>
    <dgm:cxn modelId="{6DD5B5B7-91BE-4F0C-A0C8-5F78B93D1E6B}" type="presOf" srcId="{3591D07A-D824-4519-B860-1993164DF9FD}" destId="{1EA71D56-85DF-4D54-9B21-A3D3F455259B}" srcOrd="0" destOrd="0" presId="urn:microsoft.com/office/officeart/2008/layout/LinedList"/>
    <dgm:cxn modelId="{DADD8EBD-D38A-4E88-A5DD-5E9ECCD5C842}" type="presOf" srcId="{1295AEC3-460A-4F55-B05C-D74E03BD4D4A}" destId="{78ED0FCB-A21F-4819-891A-27814A2F2B73}" srcOrd="0" destOrd="0" presId="urn:microsoft.com/office/officeart/2008/layout/LinedList"/>
    <dgm:cxn modelId="{F1B458DD-4A9C-4186-BD3E-D987D3972F0B}" srcId="{3591D07A-D824-4519-B860-1993164DF9FD}" destId="{CCE02ACB-B8FF-443D-98CC-901DBB19C3DE}" srcOrd="3" destOrd="0" parTransId="{A2FADE22-5189-4383-931F-216E4BD3FDCB}" sibTransId="{96B2FF3D-2F1B-42ED-923D-6DADAD1E00F7}"/>
    <dgm:cxn modelId="{460469E7-D81E-408F-A7D0-ECAEFA28F21E}" type="presOf" srcId="{1170F71F-A361-4BB3-B82F-7CA44FB94FCA}" destId="{4A98FA18-6FD4-4F43-8879-7E667836F0B2}" srcOrd="0" destOrd="0" presId="urn:microsoft.com/office/officeart/2008/layout/LinedList"/>
    <dgm:cxn modelId="{FF0D3D27-29AF-4ACB-BAFC-F19CE06C9E78}" type="presParOf" srcId="{2EF32E95-78E1-4455-A301-B7A884A9CA01}" destId="{C4C13ED3-D3A0-4315-9D5D-85BABA27B016}" srcOrd="0" destOrd="0" presId="urn:microsoft.com/office/officeart/2008/layout/LinedList"/>
    <dgm:cxn modelId="{5F3EC65F-C9F9-44E2-8128-28B548EBC47E}" type="presParOf" srcId="{2EF32E95-78E1-4455-A301-B7A884A9CA01}" destId="{3E331361-FBB8-4064-BD56-1C16DE00E9D4}" srcOrd="1" destOrd="0" presId="urn:microsoft.com/office/officeart/2008/layout/LinedList"/>
    <dgm:cxn modelId="{F5D4D536-1041-4215-A4A1-268C493E4FDB}" type="presParOf" srcId="{3E331361-FBB8-4064-BD56-1C16DE00E9D4}" destId="{1EA71D56-85DF-4D54-9B21-A3D3F455259B}" srcOrd="0" destOrd="0" presId="urn:microsoft.com/office/officeart/2008/layout/LinedList"/>
    <dgm:cxn modelId="{F773ACFC-75DE-4D6C-8E5D-D9E85B6139A7}" type="presParOf" srcId="{3E331361-FBB8-4064-BD56-1C16DE00E9D4}" destId="{81581667-0701-47F0-847E-EE4DD183EAB0}" srcOrd="1" destOrd="0" presId="urn:microsoft.com/office/officeart/2008/layout/LinedList"/>
    <dgm:cxn modelId="{12336EBB-0B3D-48A4-961B-2F10A84FB2FF}" type="presParOf" srcId="{81581667-0701-47F0-847E-EE4DD183EAB0}" destId="{F903D8B1-69F0-428F-84EB-6B5A816B651A}" srcOrd="0" destOrd="0" presId="urn:microsoft.com/office/officeart/2008/layout/LinedList"/>
    <dgm:cxn modelId="{1A9604FE-A360-4D87-8388-2C851931A369}" type="presParOf" srcId="{81581667-0701-47F0-847E-EE4DD183EAB0}" destId="{CB207C62-72D1-451E-8386-D8D564CA17AE}" srcOrd="1" destOrd="0" presId="urn:microsoft.com/office/officeart/2008/layout/LinedList"/>
    <dgm:cxn modelId="{A1F9B0C2-059F-4FDF-A877-19FE849CA037}" type="presParOf" srcId="{CB207C62-72D1-451E-8386-D8D564CA17AE}" destId="{BF3829F1-CF72-409F-A77E-0040B4F43822}" srcOrd="0" destOrd="0" presId="urn:microsoft.com/office/officeart/2008/layout/LinedList"/>
    <dgm:cxn modelId="{4BC6DA0B-F722-4019-BD9C-654C0138B014}" type="presParOf" srcId="{CB207C62-72D1-451E-8386-D8D564CA17AE}" destId="{F74AB7C3-C0CE-42A8-ADCD-E354E108D765}" srcOrd="1" destOrd="0" presId="urn:microsoft.com/office/officeart/2008/layout/LinedList"/>
    <dgm:cxn modelId="{F70A7CF3-8D80-40A7-8601-45EC8E0D6250}" type="presParOf" srcId="{CB207C62-72D1-451E-8386-D8D564CA17AE}" destId="{673ECEB4-DF66-471E-B8AB-AD62507899D6}" srcOrd="2" destOrd="0" presId="urn:microsoft.com/office/officeart/2008/layout/LinedList"/>
    <dgm:cxn modelId="{CDEAFCBD-9303-43C8-B885-9A5453A12D79}" type="presParOf" srcId="{81581667-0701-47F0-847E-EE4DD183EAB0}" destId="{169FBE19-E715-439E-AEA0-F69EAD6D0374}" srcOrd="2" destOrd="0" presId="urn:microsoft.com/office/officeart/2008/layout/LinedList"/>
    <dgm:cxn modelId="{8C283436-8FFE-422A-B0FC-37B2BF44224C}" type="presParOf" srcId="{81581667-0701-47F0-847E-EE4DD183EAB0}" destId="{2D8BFC06-7D80-4FC8-B7B1-BF8FFF53707E}" srcOrd="3" destOrd="0" presId="urn:microsoft.com/office/officeart/2008/layout/LinedList"/>
    <dgm:cxn modelId="{7C270E43-F5C1-447E-B610-06F8A8693D27}" type="presParOf" srcId="{81581667-0701-47F0-847E-EE4DD183EAB0}" destId="{A96CE797-A639-4F1E-928C-481D53B7AE3F}" srcOrd="4" destOrd="0" presId="urn:microsoft.com/office/officeart/2008/layout/LinedList"/>
    <dgm:cxn modelId="{1D333D59-C7F7-4F75-8E34-1423937373C3}" type="presParOf" srcId="{A96CE797-A639-4F1E-928C-481D53B7AE3F}" destId="{E9323B10-6D09-4269-A201-655FFA573980}" srcOrd="0" destOrd="0" presId="urn:microsoft.com/office/officeart/2008/layout/LinedList"/>
    <dgm:cxn modelId="{631535D6-C5DF-4369-A4D1-6D83F5BDE8F3}" type="presParOf" srcId="{A96CE797-A639-4F1E-928C-481D53B7AE3F}" destId="{4A98FA18-6FD4-4F43-8879-7E667836F0B2}" srcOrd="1" destOrd="0" presId="urn:microsoft.com/office/officeart/2008/layout/LinedList"/>
    <dgm:cxn modelId="{63D5C00B-656B-4677-AD34-1FA7398EE03E}" type="presParOf" srcId="{A96CE797-A639-4F1E-928C-481D53B7AE3F}" destId="{06BFCF40-0714-4EF7-93B7-0079E195E258}" srcOrd="2" destOrd="0" presId="urn:microsoft.com/office/officeart/2008/layout/LinedList"/>
    <dgm:cxn modelId="{73E7E7C5-20DD-4162-B5CE-704DAA1675CC}" type="presParOf" srcId="{81581667-0701-47F0-847E-EE4DD183EAB0}" destId="{18BC2190-48FF-48B9-9C3F-5331CFE4C0E1}" srcOrd="5" destOrd="0" presId="urn:microsoft.com/office/officeart/2008/layout/LinedList"/>
    <dgm:cxn modelId="{3DC438FF-04AC-4ED1-87F2-2E1AB720BFBC}" type="presParOf" srcId="{81581667-0701-47F0-847E-EE4DD183EAB0}" destId="{8FD45DEC-721B-4C9B-A5DC-6DA847227029}" srcOrd="6" destOrd="0" presId="urn:microsoft.com/office/officeart/2008/layout/LinedList"/>
    <dgm:cxn modelId="{F3BF4148-7188-4FD7-A993-587A88960ED8}" type="presParOf" srcId="{81581667-0701-47F0-847E-EE4DD183EAB0}" destId="{E5D55C69-18FF-4006-85FC-E96CA286270D}" srcOrd="7" destOrd="0" presId="urn:microsoft.com/office/officeart/2008/layout/LinedList"/>
    <dgm:cxn modelId="{66F63014-8BD5-4C35-B6F5-EBAB2417C247}" type="presParOf" srcId="{E5D55C69-18FF-4006-85FC-E96CA286270D}" destId="{C71DDA7A-95DE-43D3-AFDD-51142F31C09F}" srcOrd="0" destOrd="0" presId="urn:microsoft.com/office/officeart/2008/layout/LinedList"/>
    <dgm:cxn modelId="{496FB8FF-92E7-4677-8DAB-14B80CD635B2}" type="presParOf" srcId="{E5D55C69-18FF-4006-85FC-E96CA286270D}" destId="{78ED0FCB-A21F-4819-891A-27814A2F2B73}" srcOrd="1" destOrd="0" presId="urn:microsoft.com/office/officeart/2008/layout/LinedList"/>
    <dgm:cxn modelId="{0B4E99E4-7915-452C-ACFE-A98D8058139D}" type="presParOf" srcId="{E5D55C69-18FF-4006-85FC-E96CA286270D}" destId="{6F5BC1ED-1BF1-4BCA-9A50-E3901C9BEACE}" srcOrd="2" destOrd="0" presId="urn:microsoft.com/office/officeart/2008/layout/LinedList"/>
    <dgm:cxn modelId="{90911821-A754-45B1-A3AC-8B3BD40CED25}" type="presParOf" srcId="{81581667-0701-47F0-847E-EE4DD183EAB0}" destId="{F0EBC1F2-5A41-4D12-9455-7A5C54330513}" srcOrd="8" destOrd="0" presId="urn:microsoft.com/office/officeart/2008/layout/LinedList"/>
    <dgm:cxn modelId="{A69A1E7B-902E-4FDD-9D7F-1F2B4140F2DC}" type="presParOf" srcId="{81581667-0701-47F0-847E-EE4DD183EAB0}" destId="{94DC5FAF-BD5F-4940-BBC0-71C9B9E22E23}" srcOrd="9" destOrd="0" presId="urn:microsoft.com/office/officeart/2008/layout/LinedList"/>
    <dgm:cxn modelId="{9BF64AA3-FE18-4626-9BCB-990DE1B4498C}" type="presParOf" srcId="{81581667-0701-47F0-847E-EE4DD183EAB0}" destId="{EFD56F45-4774-4B05-9611-1DAE7317A1F2}" srcOrd="10" destOrd="0" presId="urn:microsoft.com/office/officeart/2008/layout/LinedList"/>
    <dgm:cxn modelId="{FDD17685-1B37-4A12-85E5-59E59DABB9BC}" type="presParOf" srcId="{EFD56F45-4774-4B05-9611-1DAE7317A1F2}" destId="{E5F60BF8-37CC-4C6C-8744-68781A5AF260}" srcOrd="0" destOrd="0" presId="urn:microsoft.com/office/officeart/2008/layout/LinedList"/>
    <dgm:cxn modelId="{B4F3E83F-2C9C-4706-99D3-FFAA728F554A}" type="presParOf" srcId="{EFD56F45-4774-4B05-9611-1DAE7317A1F2}" destId="{AAD6F35A-ED80-46BA-A77B-3FB906F59183}" srcOrd="1" destOrd="0" presId="urn:microsoft.com/office/officeart/2008/layout/LinedList"/>
    <dgm:cxn modelId="{C8B2B91E-48DA-4B23-A7DB-3B0AB2D58CE4}" type="presParOf" srcId="{EFD56F45-4774-4B05-9611-1DAE7317A1F2}" destId="{EFBB13B6-B3FF-4F11-8233-4032D576033A}" srcOrd="2" destOrd="0" presId="urn:microsoft.com/office/officeart/2008/layout/LinedList"/>
    <dgm:cxn modelId="{C70C3259-7F31-4126-AB72-8DE3498D5BB2}" type="presParOf" srcId="{81581667-0701-47F0-847E-EE4DD183EAB0}" destId="{449DB954-DAAE-429F-84F9-21EB5265CA96}" srcOrd="11" destOrd="0" presId="urn:microsoft.com/office/officeart/2008/layout/LinedList"/>
    <dgm:cxn modelId="{E9DE2C58-C2E6-4A82-AB4E-E86C3A3300B9}" type="presParOf" srcId="{81581667-0701-47F0-847E-EE4DD183EAB0}" destId="{9E53F462-51BC-4BD8-B0E4-22D8C9B74FC8}" srcOrd="12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5F33173-4810-47E2-834C-D9773AAEE097}" type="doc">
      <dgm:prSet loTypeId="urn:microsoft.com/office/officeart/2008/layout/LinedList" loCatId="list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en-US"/>
        </a:p>
      </dgm:t>
    </dgm:pt>
    <dgm:pt modelId="{311C52F4-E2A6-43BB-8B85-940807987884}">
      <dgm:prSet phldrT="[Text]" custT="1"/>
      <dgm:spPr/>
      <dgm:t>
        <a:bodyPr/>
        <a:lstStyle/>
        <a:p>
          <a:r>
            <a:rPr lang="en-US" sz="1600" dirty="0">
              <a:solidFill>
                <a:schemeClr val="tx2"/>
              </a:solidFill>
              <a:latin typeface="Lato" panose="020F0502020204030203" pitchFamily="34" charset="0"/>
            </a:rPr>
            <a:t>Data Types Supported</a:t>
          </a:r>
        </a:p>
      </dgm:t>
    </dgm:pt>
    <dgm:pt modelId="{E2F706DD-E8A6-4EEB-A8F5-71AEB3805D87}" type="parTrans" cxnId="{AD8CA806-3CEF-413D-ACAB-091CEC0ADDA4}">
      <dgm:prSet/>
      <dgm:spPr/>
      <dgm:t>
        <a:bodyPr/>
        <a:lstStyle/>
        <a:p>
          <a:endParaRPr lang="en-US"/>
        </a:p>
      </dgm:t>
    </dgm:pt>
    <dgm:pt modelId="{1F2626F3-5054-4EBE-9FA4-7E4BF871A7D5}" type="sibTrans" cxnId="{AD8CA806-3CEF-413D-ACAB-091CEC0ADDA4}">
      <dgm:prSet/>
      <dgm:spPr/>
      <dgm:t>
        <a:bodyPr/>
        <a:lstStyle/>
        <a:p>
          <a:endParaRPr lang="en-US"/>
        </a:p>
      </dgm:t>
    </dgm:pt>
    <dgm:pt modelId="{60B3CEAA-6526-4F9F-AFC8-371B6E34BDAB}">
      <dgm:prSet phldrT="[Text]"/>
      <dgm:spPr/>
      <dgm:t>
        <a:bodyPr/>
        <a:lstStyle/>
        <a:p>
          <a:r>
            <a:rPr lang="en-US" dirty="0">
              <a:latin typeface="Lato" panose="020F0502020204030203" pitchFamily="34" charset="0"/>
            </a:rPr>
            <a:t>Boolean</a:t>
          </a:r>
        </a:p>
      </dgm:t>
    </dgm:pt>
    <dgm:pt modelId="{C260140B-D5BE-43E6-8FE2-EE7B232E0374}" type="parTrans" cxnId="{2A240B32-B89D-480C-B361-A0C4E897B310}">
      <dgm:prSet/>
      <dgm:spPr/>
      <dgm:t>
        <a:bodyPr/>
        <a:lstStyle/>
        <a:p>
          <a:endParaRPr lang="en-US"/>
        </a:p>
      </dgm:t>
    </dgm:pt>
    <dgm:pt modelId="{8275358D-4CAD-4EE4-AB7B-280B0323EC9A}" type="sibTrans" cxnId="{2A240B32-B89D-480C-B361-A0C4E897B310}">
      <dgm:prSet/>
      <dgm:spPr/>
      <dgm:t>
        <a:bodyPr/>
        <a:lstStyle/>
        <a:p>
          <a:endParaRPr lang="en-US"/>
        </a:p>
      </dgm:t>
    </dgm:pt>
    <dgm:pt modelId="{78156408-1511-4D46-849D-8138B1CDCD05}">
      <dgm:prSet phldrT="[Text]"/>
      <dgm:spPr/>
      <dgm:t>
        <a:bodyPr/>
        <a:lstStyle/>
        <a:p>
          <a:r>
            <a:rPr lang="en-US" dirty="0">
              <a:latin typeface="Lato" panose="020F0502020204030203" pitchFamily="34" charset="0"/>
            </a:rPr>
            <a:t>REAL</a:t>
          </a:r>
        </a:p>
      </dgm:t>
    </dgm:pt>
    <dgm:pt modelId="{C942E23E-20AD-4EA3-A7DF-66BEFB142269}" type="parTrans" cxnId="{9D5C1148-DA1C-41BF-B2D1-A4CB184B80AF}">
      <dgm:prSet/>
      <dgm:spPr/>
      <dgm:t>
        <a:bodyPr/>
        <a:lstStyle/>
        <a:p>
          <a:endParaRPr lang="en-US"/>
        </a:p>
      </dgm:t>
    </dgm:pt>
    <dgm:pt modelId="{937321A8-7FEC-4FA4-9B29-E6EB7ABD308B}" type="sibTrans" cxnId="{9D5C1148-DA1C-41BF-B2D1-A4CB184B80AF}">
      <dgm:prSet/>
      <dgm:spPr/>
      <dgm:t>
        <a:bodyPr/>
        <a:lstStyle/>
        <a:p>
          <a:endParaRPr lang="en-US"/>
        </a:p>
      </dgm:t>
    </dgm:pt>
    <dgm:pt modelId="{11DC502B-0718-4D2F-A5E9-8EDAC1B76D35}">
      <dgm:prSet phldrT="[Text]"/>
      <dgm:spPr/>
      <dgm:t>
        <a:bodyPr/>
        <a:lstStyle/>
        <a:p>
          <a:r>
            <a:rPr lang="en-US" dirty="0">
              <a:latin typeface="Lato" panose="020F0502020204030203" pitchFamily="34" charset="0"/>
            </a:rPr>
            <a:t>LREAL</a:t>
          </a:r>
        </a:p>
      </dgm:t>
    </dgm:pt>
    <dgm:pt modelId="{5AEE2A2E-D6A6-4209-9150-DF0CE5966CEC}" type="parTrans" cxnId="{4390A4F6-D42F-4D71-8FC9-665C292C8555}">
      <dgm:prSet/>
      <dgm:spPr/>
      <dgm:t>
        <a:bodyPr/>
        <a:lstStyle/>
        <a:p>
          <a:endParaRPr lang="en-US"/>
        </a:p>
      </dgm:t>
    </dgm:pt>
    <dgm:pt modelId="{DE6C9287-BDEB-4E78-A72F-AAA7E3D2DAD0}" type="sibTrans" cxnId="{4390A4F6-D42F-4D71-8FC9-665C292C8555}">
      <dgm:prSet/>
      <dgm:spPr/>
      <dgm:t>
        <a:bodyPr/>
        <a:lstStyle/>
        <a:p>
          <a:endParaRPr lang="en-US"/>
        </a:p>
      </dgm:t>
    </dgm:pt>
    <dgm:pt modelId="{BB7DA02E-E517-4EE5-AEA7-A13B379BE4A5}">
      <dgm:prSet phldrT="[Text]"/>
      <dgm:spPr/>
      <dgm:t>
        <a:bodyPr/>
        <a:lstStyle/>
        <a:p>
          <a:r>
            <a:rPr lang="en-US" dirty="0">
              <a:latin typeface="Lato" panose="020F0502020204030203" pitchFamily="34" charset="0"/>
            </a:rPr>
            <a:t>SINT</a:t>
          </a:r>
        </a:p>
      </dgm:t>
    </dgm:pt>
    <dgm:pt modelId="{1466A4FA-3A3D-485A-ABDA-8B4E9FA2C2E1}" type="parTrans" cxnId="{06DDECAE-414E-48C3-9D67-8F5D5EE91701}">
      <dgm:prSet/>
      <dgm:spPr/>
      <dgm:t>
        <a:bodyPr/>
        <a:lstStyle/>
        <a:p>
          <a:endParaRPr lang="en-US"/>
        </a:p>
      </dgm:t>
    </dgm:pt>
    <dgm:pt modelId="{498AED54-0111-4909-90B9-C672646F664D}" type="sibTrans" cxnId="{06DDECAE-414E-48C3-9D67-8F5D5EE91701}">
      <dgm:prSet/>
      <dgm:spPr/>
      <dgm:t>
        <a:bodyPr/>
        <a:lstStyle/>
        <a:p>
          <a:endParaRPr lang="en-US"/>
        </a:p>
      </dgm:t>
    </dgm:pt>
    <dgm:pt modelId="{904C8F1F-D6CA-46B2-983D-6A2E351D43C7}">
      <dgm:prSet phldrT="[Text]"/>
      <dgm:spPr/>
      <dgm:t>
        <a:bodyPr/>
        <a:lstStyle/>
        <a:p>
          <a:r>
            <a:rPr lang="en-US" dirty="0">
              <a:latin typeface="Lato" panose="020F0502020204030203" pitchFamily="34" charset="0"/>
            </a:rPr>
            <a:t>USINT</a:t>
          </a:r>
        </a:p>
      </dgm:t>
    </dgm:pt>
    <dgm:pt modelId="{F9F1BF08-0718-49F2-9008-132A4616C980}" type="parTrans" cxnId="{C24EBBBD-51D0-4EB8-9DCC-49AD49C4FAC4}">
      <dgm:prSet/>
      <dgm:spPr/>
      <dgm:t>
        <a:bodyPr/>
        <a:lstStyle/>
        <a:p>
          <a:endParaRPr lang="en-US"/>
        </a:p>
      </dgm:t>
    </dgm:pt>
    <dgm:pt modelId="{8E4EAE57-D7BE-4FAA-AE64-BAD8CC9F42C8}" type="sibTrans" cxnId="{C24EBBBD-51D0-4EB8-9DCC-49AD49C4FAC4}">
      <dgm:prSet/>
      <dgm:spPr/>
      <dgm:t>
        <a:bodyPr/>
        <a:lstStyle/>
        <a:p>
          <a:endParaRPr lang="en-US"/>
        </a:p>
      </dgm:t>
    </dgm:pt>
    <dgm:pt modelId="{499280DE-C97D-40E5-93DF-503509814596}">
      <dgm:prSet phldrT="[Text]"/>
      <dgm:spPr/>
      <dgm:t>
        <a:bodyPr/>
        <a:lstStyle/>
        <a:p>
          <a:r>
            <a:rPr lang="en-US" dirty="0">
              <a:latin typeface="Lato" panose="020F0502020204030203" pitchFamily="34" charset="0"/>
            </a:rPr>
            <a:t>BYTE</a:t>
          </a:r>
        </a:p>
      </dgm:t>
    </dgm:pt>
    <dgm:pt modelId="{2216FD49-1709-4277-843A-AE83DA5306D9}" type="parTrans" cxnId="{F8C45BF1-6013-43BE-ADF0-A0DACAA22C85}">
      <dgm:prSet/>
      <dgm:spPr/>
      <dgm:t>
        <a:bodyPr/>
        <a:lstStyle/>
        <a:p>
          <a:endParaRPr lang="en-US"/>
        </a:p>
      </dgm:t>
    </dgm:pt>
    <dgm:pt modelId="{C1473B3E-E0AE-4CD9-8887-B9ABFD54BED9}" type="sibTrans" cxnId="{F8C45BF1-6013-43BE-ADF0-A0DACAA22C85}">
      <dgm:prSet/>
      <dgm:spPr/>
      <dgm:t>
        <a:bodyPr/>
        <a:lstStyle/>
        <a:p>
          <a:endParaRPr lang="en-US"/>
        </a:p>
      </dgm:t>
    </dgm:pt>
    <dgm:pt modelId="{E3D2925F-CDE0-4C88-97C0-5A59340C8D38}">
      <dgm:prSet phldrT="[Text]"/>
      <dgm:spPr/>
      <dgm:t>
        <a:bodyPr/>
        <a:lstStyle/>
        <a:p>
          <a:r>
            <a:rPr lang="en-US" dirty="0">
              <a:latin typeface="Lato" panose="020F0502020204030203" pitchFamily="34" charset="0"/>
            </a:rPr>
            <a:t>INT</a:t>
          </a:r>
        </a:p>
      </dgm:t>
    </dgm:pt>
    <dgm:pt modelId="{AFA8365A-FE51-46A3-8578-9FAC618C4991}" type="parTrans" cxnId="{6689021C-F081-4934-8BD0-3B79A156DAD5}">
      <dgm:prSet/>
      <dgm:spPr/>
      <dgm:t>
        <a:bodyPr/>
        <a:lstStyle/>
        <a:p>
          <a:endParaRPr lang="en-US"/>
        </a:p>
      </dgm:t>
    </dgm:pt>
    <dgm:pt modelId="{22CCD865-0A93-43E7-A60D-2CB56FCD8A01}" type="sibTrans" cxnId="{6689021C-F081-4934-8BD0-3B79A156DAD5}">
      <dgm:prSet/>
      <dgm:spPr/>
      <dgm:t>
        <a:bodyPr/>
        <a:lstStyle/>
        <a:p>
          <a:endParaRPr lang="en-US"/>
        </a:p>
      </dgm:t>
    </dgm:pt>
    <dgm:pt modelId="{16941BDF-6B2A-4F23-8A31-7FE3050C02B0}">
      <dgm:prSet phldrT="[Text]"/>
      <dgm:spPr/>
      <dgm:t>
        <a:bodyPr/>
        <a:lstStyle/>
        <a:p>
          <a:r>
            <a:rPr lang="en-US" dirty="0">
              <a:latin typeface="Lato" panose="020F0502020204030203" pitchFamily="34" charset="0"/>
            </a:rPr>
            <a:t>UINT</a:t>
          </a:r>
        </a:p>
      </dgm:t>
    </dgm:pt>
    <dgm:pt modelId="{E2974906-EE98-41F7-8F59-225D6A5D869B}" type="parTrans" cxnId="{C5CC471C-ED7C-46BA-B68D-C5136D34C2E5}">
      <dgm:prSet/>
      <dgm:spPr/>
      <dgm:t>
        <a:bodyPr/>
        <a:lstStyle/>
        <a:p>
          <a:endParaRPr lang="en-US"/>
        </a:p>
      </dgm:t>
    </dgm:pt>
    <dgm:pt modelId="{5B5EB569-C92B-4480-B122-95CECA9ABEC1}" type="sibTrans" cxnId="{C5CC471C-ED7C-46BA-B68D-C5136D34C2E5}">
      <dgm:prSet/>
      <dgm:spPr/>
      <dgm:t>
        <a:bodyPr/>
        <a:lstStyle/>
        <a:p>
          <a:endParaRPr lang="en-US"/>
        </a:p>
      </dgm:t>
    </dgm:pt>
    <dgm:pt modelId="{71776D91-FF32-4A2F-A6D1-0CBF3B8F5561}">
      <dgm:prSet phldrT="[Text]"/>
      <dgm:spPr/>
      <dgm:t>
        <a:bodyPr/>
        <a:lstStyle/>
        <a:p>
          <a:r>
            <a:rPr lang="en-US" dirty="0">
              <a:latin typeface="Lato" panose="020F0502020204030203" pitchFamily="34" charset="0"/>
            </a:rPr>
            <a:t>WORD</a:t>
          </a:r>
        </a:p>
      </dgm:t>
    </dgm:pt>
    <dgm:pt modelId="{8BE79FBA-0BE4-4170-8B54-D79E236BEE37}" type="parTrans" cxnId="{CBC99C03-F723-4267-B5D3-9342247A17B9}">
      <dgm:prSet/>
      <dgm:spPr/>
      <dgm:t>
        <a:bodyPr/>
        <a:lstStyle/>
        <a:p>
          <a:endParaRPr lang="en-US"/>
        </a:p>
      </dgm:t>
    </dgm:pt>
    <dgm:pt modelId="{D73BCBC0-033B-412A-AE5B-203F71D7D93E}" type="sibTrans" cxnId="{CBC99C03-F723-4267-B5D3-9342247A17B9}">
      <dgm:prSet/>
      <dgm:spPr/>
      <dgm:t>
        <a:bodyPr/>
        <a:lstStyle/>
        <a:p>
          <a:endParaRPr lang="en-US"/>
        </a:p>
      </dgm:t>
    </dgm:pt>
    <dgm:pt modelId="{0ADBFA6E-18BF-4476-803F-7A8D65F82556}">
      <dgm:prSet phldrT="[Text]"/>
      <dgm:spPr/>
      <dgm:t>
        <a:bodyPr/>
        <a:lstStyle/>
        <a:p>
          <a:r>
            <a:rPr lang="en-US" dirty="0">
              <a:latin typeface="Lato" panose="020F0502020204030203" pitchFamily="34" charset="0"/>
            </a:rPr>
            <a:t>DINT</a:t>
          </a:r>
        </a:p>
      </dgm:t>
    </dgm:pt>
    <dgm:pt modelId="{9A3E56EA-51FB-444D-A7A7-9C450B769342}" type="parTrans" cxnId="{507AB98F-E1F9-49BB-906F-BA187EF6AF93}">
      <dgm:prSet/>
      <dgm:spPr/>
      <dgm:t>
        <a:bodyPr/>
        <a:lstStyle/>
        <a:p>
          <a:endParaRPr lang="en-US"/>
        </a:p>
      </dgm:t>
    </dgm:pt>
    <dgm:pt modelId="{0036E42C-01B5-43AC-A409-766B5F8D9FF7}" type="sibTrans" cxnId="{507AB98F-E1F9-49BB-906F-BA187EF6AF93}">
      <dgm:prSet/>
      <dgm:spPr/>
      <dgm:t>
        <a:bodyPr/>
        <a:lstStyle/>
        <a:p>
          <a:endParaRPr lang="en-US"/>
        </a:p>
      </dgm:t>
    </dgm:pt>
    <dgm:pt modelId="{88D65469-1E47-4878-87CA-F49260AB1537}">
      <dgm:prSet phldrT="[Text]"/>
      <dgm:spPr/>
      <dgm:t>
        <a:bodyPr/>
        <a:lstStyle/>
        <a:p>
          <a:r>
            <a:rPr lang="en-US" dirty="0">
              <a:latin typeface="Lato" panose="020F0502020204030203" pitchFamily="34" charset="0"/>
            </a:rPr>
            <a:t>DWORD</a:t>
          </a:r>
        </a:p>
      </dgm:t>
    </dgm:pt>
    <dgm:pt modelId="{E8DF206F-B217-4A7F-ABD0-EE0C67009FE3}" type="parTrans" cxnId="{6980F64E-A28C-4374-861F-B06F8861EEF6}">
      <dgm:prSet/>
      <dgm:spPr/>
      <dgm:t>
        <a:bodyPr/>
        <a:lstStyle/>
        <a:p>
          <a:endParaRPr lang="en-US"/>
        </a:p>
      </dgm:t>
    </dgm:pt>
    <dgm:pt modelId="{8BE31E64-9014-400E-9B11-4E4C3C032997}" type="sibTrans" cxnId="{6980F64E-A28C-4374-861F-B06F8861EEF6}">
      <dgm:prSet/>
      <dgm:spPr/>
      <dgm:t>
        <a:bodyPr/>
        <a:lstStyle/>
        <a:p>
          <a:endParaRPr lang="en-US"/>
        </a:p>
      </dgm:t>
    </dgm:pt>
    <dgm:pt modelId="{445F2F54-F9B9-464E-9407-346D114C37CC}">
      <dgm:prSet phldrT="[Text]"/>
      <dgm:spPr/>
      <dgm:t>
        <a:bodyPr/>
        <a:lstStyle/>
        <a:p>
          <a:r>
            <a:rPr lang="en-US" dirty="0">
              <a:latin typeface="Lato" panose="020F0502020204030203" pitchFamily="34" charset="0"/>
            </a:rPr>
            <a:t>LINT</a:t>
          </a:r>
        </a:p>
      </dgm:t>
    </dgm:pt>
    <dgm:pt modelId="{AC9735AF-6708-4FDF-964F-CFE0E5B375EE}" type="parTrans" cxnId="{8B94B687-5DAE-4A25-B3B7-EB0C526769C3}">
      <dgm:prSet/>
      <dgm:spPr/>
      <dgm:t>
        <a:bodyPr/>
        <a:lstStyle/>
        <a:p>
          <a:endParaRPr lang="en-US"/>
        </a:p>
      </dgm:t>
    </dgm:pt>
    <dgm:pt modelId="{DB43E4BE-6040-4C33-9001-4A018B49E24F}" type="sibTrans" cxnId="{8B94B687-5DAE-4A25-B3B7-EB0C526769C3}">
      <dgm:prSet/>
      <dgm:spPr/>
      <dgm:t>
        <a:bodyPr/>
        <a:lstStyle/>
        <a:p>
          <a:endParaRPr lang="en-US"/>
        </a:p>
      </dgm:t>
    </dgm:pt>
    <dgm:pt modelId="{57220EE2-F05C-455C-92D0-F77287161B48}">
      <dgm:prSet phldrT="[Text]"/>
      <dgm:spPr/>
      <dgm:t>
        <a:bodyPr/>
        <a:lstStyle/>
        <a:p>
          <a:r>
            <a:rPr lang="en-US" dirty="0">
              <a:latin typeface="Lato" panose="020F0502020204030203" pitchFamily="34" charset="0"/>
            </a:rPr>
            <a:t>ULINT</a:t>
          </a:r>
        </a:p>
      </dgm:t>
    </dgm:pt>
    <dgm:pt modelId="{8AEFE465-986F-4DEF-BF0E-4A3F44AA9BC3}" type="parTrans" cxnId="{599E11BC-CC65-4AC2-A5D8-D02227029C65}">
      <dgm:prSet/>
      <dgm:spPr/>
      <dgm:t>
        <a:bodyPr/>
        <a:lstStyle/>
        <a:p>
          <a:endParaRPr lang="en-US"/>
        </a:p>
      </dgm:t>
    </dgm:pt>
    <dgm:pt modelId="{C30DA572-0F45-4661-8B7D-75A835311809}" type="sibTrans" cxnId="{599E11BC-CC65-4AC2-A5D8-D02227029C65}">
      <dgm:prSet/>
      <dgm:spPr/>
      <dgm:t>
        <a:bodyPr/>
        <a:lstStyle/>
        <a:p>
          <a:endParaRPr lang="en-US"/>
        </a:p>
      </dgm:t>
    </dgm:pt>
    <dgm:pt modelId="{B5D1E8F3-C949-4DCB-8EDF-B8EC8BF02049}">
      <dgm:prSet phldrT="[Text]"/>
      <dgm:spPr/>
      <dgm:t>
        <a:bodyPr/>
        <a:lstStyle/>
        <a:p>
          <a:r>
            <a:rPr lang="en-US" dirty="0">
              <a:latin typeface="Lato" panose="020F0502020204030203" pitchFamily="34" charset="0"/>
            </a:rPr>
            <a:t>LWORD</a:t>
          </a:r>
        </a:p>
      </dgm:t>
    </dgm:pt>
    <dgm:pt modelId="{9FCCCA2D-E38C-4445-BB1F-F357AFB66F08}" type="parTrans" cxnId="{DBEDA788-430E-4F34-829A-423AD1C54628}">
      <dgm:prSet/>
      <dgm:spPr/>
      <dgm:t>
        <a:bodyPr/>
        <a:lstStyle/>
        <a:p>
          <a:endParaRPr lang="en-US"/>
        </a:p>
      </dgm:t>
    </dgm:pt>
    <dgm:pt modelId="{90069487-E724-42E2-B681-E2DA2039EDC8}" type="sibTrans" cxnId="{DBEDA788-430E-4F34-829A-423AD1C54628}">
      <dgm:prSet/>
      <dgm:spPr/>
      <dgm:t>
        <a:bodyPr/>
        <a:lstStyle/>
        <a:p>
          <a:endParaRPr lang="en-US"/>
        </a:p>
      </dgm:t>
    </dgm:pt>
    <dgm:pt modelId="{0933F751-5A5F-4F90-A282-1304CECB0A20}">
      <dgm:prSet phldrT="[Text]"/>
      <dgm:spPr/>
      <dgm:t>
        <a:bodyPr/>
        <a:lstStyle/>
        <a:p>
          <a:r>
            <a:rPr lang="en-US" dirty="0">
              <a:latin typeface="Lato" panose="020F0502020204030203" pitchFamily="34" charset="0"/>
            </a:rPr>
            <a:t>TIME</a:t>
          </a:r>
        </a:p>
      </dgm:t>
    </dgm:pt>
    <dgm:pt modelId="{863B13C7-72E7-40FB-A7D1-1C6E065EBF1D}" type="parTrans" cxnId="{BCB382F8-DFE2-4DF7-89B3-C6342E676E31}">
      <dgm:prSet/>
      <dgm:spPr/>
      <dgm:t>
        <a:bodyPr/>
        <a:lstStyle/>
        <a:p>
          <a:endParaRPr lang="en-US"/>
        </a:p>
      </dgm:t>
    </dgm:pt>
    <dgm:pt modelId="{F48A6CAC-82FC-46AF-9B67-87F7B98D24B2}" type="sibTrans" cxnId="{BCB382F8-DFE2-4DF7-89B3-C6342E676E31}">
      <dgm:prSet/>
      <dgm:spPr/>
      <dgm:t>
        <a:bodyPr/>
        <a:lstStyle/>
        <a:p>
          <a:endParaRPr lang="en-US"/>
        </a:p>
      </dgm:t>
    </dgm:pt>
    <dgm:pt modelId="{83DFAAB1-9DE1-4C20-B578-670F3120E15D}">
      <dgm:prSet phldrT="[Text]"/>
      <dgm:spPr/>
      <dgm:t>
        <a:bodyPr/>
        <a:lstStyle/>
        <a:p>
          <a:r>
            <a:rPr lang="en-US" dirty="0">
              <a:latin typeface="Lato" panose="020F0502020204030203" pitchFamily="34" charset="0"/>
            </a:rPr>
            <a:t>STRING</a:t>
          </a:r>
        </a:p>
      </dgm:t>
    </dgm:pt>
    <dgm:pt modelId="{587A9CC3-677E-4899-96D2-1D84670A35DA}" type="parTrans" cxnId="{586F79BD-7444-4723-AC45-DDD5DC3C1FC9}">
      <dgm:prSet/>
      <dgm:spPr/>
      <dgm:t>
        <a:bodyPr/>
        <a:lstStyle/>
        <a:p>
          <a:endParaRPr lang="en-US"/>
        </a:p>
      </dgm:t>
    </dgm:pt>
    <dgm:pt modelId="{A2560A8C-0BC4-48D1-9312-49677D61FC24}" type="sibTrans" cxnId="{586F79BD-7444-4723-AC45-DDD5DC3C1FC9}">
      <dgm:prSet/>
      <dgm:spPr/>
      <dgm:t>
        <a:bodyPr/>
        <a:lstStyle/>
        <a:p>
          <a:endParaRPr lang="en-US"/>
        </a:p>
      </dgm:t>
    </dgm:pt>
    <dgm:pt modelId="{A76AB44F-4232-4A9B-AEBF-85B83C1CC9E1}" type="pres">
      <dgm:prSet presAssocID="{95F33173-4810-47E2-834C-D9773AAEE097}" presName="vert0" presStyleCnt="0">
        <dgm:presLayoutVars>
          <dgm:dir/>
          <dgm:animOne val="branch"/>
          <dgm:animLvl val="lvl"/>
        </dgm:presLayoutVars>
      </dgm:prSet>
      <dgm:spPr/>
    </dgm:pt>
    <dgm:pt modelId="{AEDA5F68-DB38-4CBB-85E6-7C7C9768F978}" type="pres">
      <dgm:prSet presAssocID="{311C52F4-E2A6-43BB-8B85-940807987884}" presName="thickLine" presStyleLbl="alignNode1" presStyleIdx="0" presStyleCnt="1"/>
      <dgm:spPr/>
    </dgm:pt>
    <dgm:pt modelId="{03A2C246-2D08-49D1-B4F6-5DBD027F0D11}" type="pres">
      <dgm:prSet presAssocID="{311C52F4-E2A6-43BB-8B85-940807987884}" presName="horz1" presStyleCnt="0"/>
      <dgm:spPr/>
    </dgm:pt>
    <dgm:pt modelId="{90C38840-F6DA-4B15-BF7D-AF57FD138F64}" type="pres">
      <dgm:prSet presAssocID="{311C52F4-E2A6-43BB-8B85-940807987884}" presName="tx1" presStyleLbl="revTx" presStyleIdx="0" presStyleCnt="17" custScaleX="520135"/>
      <dgm:spPr/>
    </dgm:pt>
    <dgm:pt modelId="{31BCD210-338C-448F-BBA4-5CB0E93FAB76}" type="pres">
      <dgm:prSet presAssocID="{311C52F4-E2A6-43BB-8B85-940807987884}" presName="vert1" presStyleCnt="0"/>
      <dgm:spPr/>
    </dgm:pt>
    <dgm:pt modelId="{70B5DD39-F0E6-4CCD-A976-9336E6EDA19B}" type="pres">
      <dgm:prSet presAssocID="{60B3CEAA-6526-4F9F-AFC8-371B6E34BDAB}" presName="vertSpace2a" presStyleCnt="0"/>
      <dgm:spPr/>
    </dgm:pt>
    <dgm:pt modelId="{0296FAA2-AE4C-45CC-B57B-8F72A58ADA85}" type="pres">
      <dgm:prSet presAssocID="{60B3CEAA-6526-4F9F-AFC8-371B6E34BDAB}" presName="horz2" presStyleCnt="0"/>
      <dgm:spPr/>
    </dgm:pt>
    <dgm:pt modelId="{7AACAC38-353A-45A2-A6F4-AB83EBD72D04}" type="pres">
      <dgm:prSet presAssocID="{60B3CEAA-6526-4F9F-AFC8-371B6E34BDAB}" presName="horzSpace2" presStyleCnt="0"/>
      <dgm:spPr/>
    </dgm:pt>
    <dgm:pt modelId="{AC089D7D-CF93-4FD2-BA9F-1EED0D953510}" type="pres">
      <dgm:prSet presAssocID="{60B3CEAA-6526-4F9F-AFC8-371B6E34BDAB}" presName="tx2" presStyleLbl="revTx" presStyleIdx="1" presStyleCnt="17"/>
      <dgm:spPr/>
    </dgm:pt>
    <dgm:pt modelId="{5928A09A-52C2-4FCA-819D-3E354B694261}" type="pres">
      <dgm:prSet presAssocID="{60B3CEAA-6526-4F9F-AFC8-371B6E34BDAB}" presName="vert2" presStyleCnt="0"/>
      <dgm:spPr/>
    </dgm:pt>
    <dgm:pt modelId="{A32CE9FA-C2CB-4C6B-9FAE-461A308FEF09}" type="pres">
      <dgm:prSet presAssocID="{60B3CEAA-6526-4F9F-AFC8-371B6E34BDAB}" presName="thinLine2b" presStyleLbl="callout" presStyleIdx="0" presStyleCnt="16"/>
      <dgm:spPr/>
    </dgm:pt>
    <dgm:pt modelId="{E21BB954-3E77-4FA9-93A8-84FE98208B32}" type="pres">
      <dgm:prSet presAssocID="{60B3CEAA-6526-4F9F-AFC8-371B6E34BDAB}" presName="vertSpace2b" presStyleCnt="0"/>
      <dgm:spPr/>
    </dgm:pt>
    <dgm:pt modelId="{190981D1-B1C9-40B1-8AAC-5502C48ACFE8}" type="pres">
      <dgm:prSet presAssocID="{BB7DA02E-E517-4EE5-AEA7-A13B379BE4A5}" presName="horz2" presStyleCnt="0"/>
      <dgm:spPr/>
    </dgm:pt>
    <dgm:pt modelId="{73287DA4-4908-4E8B-A9FE-08BE2D0805DF}" type="pres">
      <dgm:prSet presAssocID="{BB7DA02E-E517-4EE5-AEA7-A13B379BE4A5}" presName="horzSpace2" presStyleCnt="0"/>
      <dgm:spPr/>
    </dgm:pt>
    <dgm:pt modelId="{ACD230D0-FFF4-4F83-9643-7EA2BC075469}" type="pres">
      <dgm:prSet presAssocID="{BB7DA02E-E517-4EE5-AEA7-A13B379BE4A5}" presName="tx2" presStyleLbl="revTx" presStyleIdx="2" presStyleCnt="17"/>
      <dgm:spPr/>
    </dgm:pt>
    <dgm:pt modelId="{A61784A7-BE43-4615-B446-070B34878E46}" type="pres">
      <dgm:prSet presAssocID="{BB7DA02E-E517-4EE5-AEA7-A13B379BE4A5}" presName="vert2" presStyleCnt="0"/>
      <dgm:spPr/>
    </dgm:pt>
    <dgm:pt modelId="{75B164C9-7B3F-4CAA-8BDE-8B04E56E05B1}" type="pres">
      <dgm:prSet presAssocID="{BB7DA02E-E517-4EE5-AEA7-A13B379BE4A5}" presName="thinLine2b" presStyleLbl="callout" presStyleIdx="1" presStyleCnt="16"/>
      <dgm:spPr/>
    </dgm:pt>
    <dgm:pt modelId="{29C174D5-A046-4462-8037-C660B5C7CDE8}" type="pres">
      <dgm:prSet presAssocID="{BB7DA02E-E517-4EE5-AEA7-A13B379BE4A5}" presName="vertSpace2b" presStyleCnt="0"/>
      <dgm:spPr/>
    </dgm:pt>
    <dgm:pt modelId="{470DBE40-1B9B-4809-8AB0-471EAF9EE1DD}" type="pres">
      <dgm:prSet presAssocID="{904C8F1F-D6CA-46B2-983D-6A2E351D43C7}" presName="horz2" presStyleCnt="0"/>
      <dgm:spPr/>
    </dgm:pt>
    <dgm:pt modelId="{74678753-528A-42C9-B59F-EF2DCAB13559}" type="pres">
      <dgm:prSet presAssocID="{904C8F1F-D6CA-46B2-983D-6A2E351D43C7}" presName="horzSpace2" presStyleCnt="0"/>
      <dgm:spPr/>
    </dgm:pt>
    <dgm:pt modelId="{BF82B72D-A957-43F3-92BB-B010F16E3D36}" type="pres">
      <dgm:prSet presAssocID="{904C8F1F-D6CA-46B2-983D-6A2E351D43C7}" presName="tx2" presStyleLbl="revTx" presStyleIdx="3" presStyleCnt="17"/>
      <dgm:spPr/>
    </dgm:pt>
    <dgm:pt modelId="{D1400BFD-46E1-4B38-BF30-533F19201A0A}" type="pres">
      <dgm:prSet presAssocID="{904C8F1F-D6CA-46B2-983D-6A2E351D43C7}" presName="vert2" presStyleCnt="0"/>
      <dgm:spPr/>
    </dgm:pt>
    <dgm:pt modelId="{6352B019-5E33-4940-B043-FACB9F821A15}" type="pres">
      <dgm:prSet presAssocID="{904C8F1F-D6CA-46B2-983D-6A2E351D43C7}" presName="thinLine2b" presStyleLbl="callout" presStyleIdx="2" presStyleCnt="16"/>
      <dgm:spPr/>
    </dgm:pt>
    <dgm:pt modelId="{D4C42D89-83E7-4AA4-9131-84FFC8583035}" type="pres">
      <dgm:prSet presAssocID="{904C8F1F-D6CA-46B2-983D-6A2E351D43C7}" presName="vertSpace2b" presStyleCnt="0"/>
      <dgm:spPr/>
    </dgm:pt>
    <dgm:pt modelId="{4238EEC5-5830-4134-916B-028923DF85EE}" type="pres">
      <dgm:prSet presAssocID="{499280DE-C97D-40E5-93DF-503509814596}" presName="horz2" presStyleCnt="0"/>
      <dgm:spPr/>
    </dgm:pt>
    <dgm:pt modelId="{8D981AEC-9055-492C-9C9B-7087535D1221}" type="pres">
      <dgm:prSet presAssocID="{499280DE-C97D-40E5-93DF-503509814596}" presName="horzSpace2" presStyleCnt="0"/>
      <dgm:spPr/>
    </dgm:pt>
    <dgm:pt modelId="{BE46E154-A1A8-41F1-8E54-1EE6C27C18E4}" type="pres">
      <dgm:prSet presAssocID="{499280DE-C97D-40E5-93DF-503509814596}" presName="tx2" presStyleLbl="revTx" presStyleIdx="4" presStyleCnt="17"/>
      <dgm:spPr/>
    </dgm:pt>
    <dgm:pt modelId="{944D918B-A0EA-4A4F-A48E-FEBD7554B6C4}" type="pres">
      <dgm:prSet presAssocID="{499280DE-C97D-40E5-93DF-503509814596}" presName="vert2" presStyleCnt="0"/>
      <dgm:spPr/>
    </dgm:pt>
    <dgm:pt modelId="{29FB5101-C34E-434D-B584-27B03120ED35}" type="pres">
      <dgm:prSet presAssocID="{499280DE-C97D-40E5-93DF-503509814596}" presName="thinLine2b" presStyleLbl="callout" presStyleIdx="3" presStyleCnt="16"/>
      <dgm:spPr/>
    </dgm:pt>
    <dgm:pt modelId="{C1FC5466-C847-408B-8819-2258E5EE9365}" type="pres">
      <dgm:prSet presAssocID="{499280DE-C97D-40E5-93DF-503509814596}" presName="vertSpace2b" presStyleCnt="0"/>
      <dgm:spPr/>
    </dgm:pt>
    <dgm:pt modelId="{2683529D-715D-4910-AA72-A06A180D83D5}" type="pres">
      <dgm:prSet presAssocID="{E3D2925F-CDE0-4C88-97C0-5A59340C8D38}" presName="horz2" presStyleCnt="0"/>
      <dgm:spPr/>
    </dgm:pt>
    <dgm:pt modelId="{ED694447-ABBF-43C8-A275-ED4AC80C6653}" type="pres">
      <dgm:prSet presAssocID="{E3D2925F-CDE0-4C88-97C0-5A59340C8D38}" presName="horzSpace2" presStyleCnt="0"/>
      <dgm:spPr/>
    </dgm:pt>
    <dgm:pt modelId="{A266113C-D01C-454F-B608-24A614AA1CA5}" type="pres">
      <dgm:prSet presAssocID="{E3D2925F-CDE0-4C88-97C0-5A59340C8D38}" presName="tx2" presStyleLbl="revTx" presStyleIdx="5" presStyleCnt="17"/>
      <dgm:spPr/>
    </dgm:pt>
    <dgm:pt modelId="{2A3F5676-F1BB-43FD-9A1C-37438C0FCCFD}" type="pres">
      <dgm:prSet presAssocID="{E3D2925F-CDE0-4C88-97C0-5A59340C8D38}" presName="vert2" presStyleCnt="0"/>
      <dgm:spPr/>
    </dgm:pt>
    <dgm:pt modelId="{7FE41DAE-B5DD-4A95-8B67-9E6839C8C95E}" type="pres">
      <dgm:prSet presAssocID="{E3D2925F-CDE0-4C88-97C0-5A59340C8D38}" presName="thinLine2b" presStyleLbl="callout" presStyleIdx="4" presStyleCnt="16"/>
      <dgm:spPr/>
    </dgm:pt>
    <dgm:pt modelId="{9C65A940-77E2-495F-BB59-CF15ED04ADB8}" type="pres">
      <dgm:prSet presAssocID="{E3D2925F-CDE0-4C88-97C0-5A59340C8D38}" presName="vertSpace2b" presStyleCnt="0"/>
      <dgm:spPr/>
    </dgm:pt>
    <dgm:pt modelId="{50E79312-A549-445A-86F4-8066C6156B2C}" type="pres">
      <dgm:prSet presAssocID="{16941BDF-6B2A-4F23-8A31-7FE3050C02B0}" presName="horz2" presStyleCnt="0"/>
      <dgm:spPr/>
    </dgm:pt>
    <dgm:pt modelId="{1C6F8C43-8EC9-488E-BDB6-41E7C2E34C01}" type="pres">
      <dgm:prSet presAssocID="{16941BDF-6B2A-4F23-8A31-7FE3050C02B0}" presName="horzSpace2" presStyleCnt="0"/>
      <dgm:spPr/>
    </dgm:pt>
    <dgm:pt modelId="{A57C2110-462D-472D-BA17-3F97043017A8}" type="pres">
      <dgm:prSet presAssocID="{16941BDF-6B2A-4F23-8A31-7FE3050C02B0}" presName="tx2" presStyleLbl="revTx" presStyleIdx="6" presStyleCnt="17"/>
      <dgm:spPr/>
    </dgm:pt>
    <dgm:pt modelId="{C434FB3B-F1AA-4798-BC4D-6D15FCBB0E68}" type="pres">
      <dgm:prSet presAssocID="{16941BDF-6B2A-4F23-8A31-7FE3050C02B0}" presName="vert2" presStyleCnt="0"/>
      <dgm:spPr/>
    </dgm:pt>
    <dgm:pt modelId="{AAD56D4D-45F3-4C30-A5DC-515783A926A2}" type="pres">
      <dgm:prSet presAssocID="{16941BDF-6B2A-4F23-8A31-7FE3050C02B0}" presName="thinLine2b" presStyleLbl="callout" presStyleIdx="5" presStyleCnt="16"/>
      <dgm:spPr/>
    </dgm:pt>
    <dgm:pt modelId="{CCDC5735-7481-4233-A32C-44182AA1860B}" type="pres">
      <dgm:prSet presAssocID="{16941BDF-6B2A-4F23-8A31-7FE3050C02B0}" presName="vertSpace2b" presStyleCnt="0"/>
      <dgm:spPr/>
    </dgm:pt>
    <dgm:pt modelId="{368A2896-023A-4017-AC08-9F8A6473A230}" type="pres">
      <dgm:prSet presAssocID="{71776D91-FF32-4A2F-A6D1-0CBF3B8F5561}" presName="horz2" presStyleCnt="0"/>
      <dgm:spPr/>
    </dgm:pt>
    <dgm:pt modelId="{C8B26C78-7D69-4A58-9A1C-8C79424CFFFC}" type="pres">
      <dgm:prSet presAssocID="{71776D91-FF32-4A2F-A6D1-0CBF3B8F5561}" presName="horzSpace2" presStyleCnt="0"/>
      <dgm:spPr/>
    </dgm:pt>
    <dgm:pt modelId="{456CD534-1D90-451B-B242-846092421D6D}" type="pres">
      <dgm:prSet presAssocID="{71776D91-FF32-4A2F-A6D1-0CBF3B8F5561}" presName="tx2" presStyleLbl="revTx" presStyleIdx="7" presStyleCnt="17"/>
      <dgm:spPr/>
    </dgm:pt>
    <dgm:pt modelId="{A58D505C-FEF9-441E-90E1-A8B39A2AC4F0}" type="pres">
      <dgm:prSet presAssocID="{71776D91-FF32-4A2F-A6D1-0CBF3B8F5561}" presName="vert2" presStyleCnt="0"/>
      <dgm:spPr/>
    </dgm:pt>
    <dgm:pt modelId="{693615FE-1FE4-4CBB-8BAD-203705657481}" type="pres">
      <dgm:prSet presAssocID="{71776D91-FF32-4A2F-A6D1-0CBF3B8F5561}" presName="thinLine2b" presStyleLbl="callout" presStyleIdx="6" presStyleCnt="16"/>
      <dgm:spPr/>
    </dgm:pt>
    <dgm:pt modelId="{67092582-4A29-43FA-954F-B338651AC4DE}" type="pres">
      <dgm:prSet presAssocID="{71776D91-FF32-4A2F-A6D1-0CBF3B8F5561}" presName="vertSpace2b" presStyleCnt="0"/>
      <dgm:spPr/>
    </dgm:pt>
    <dgm:pt modelId="{B487484B-ABD3-424A-8707-1C5F01680B11}" type="pres">
      <dgm:prSet presAssocID="{0ADBFA6E-18BF-4476-803F-7A8D65F82556}" presName="horz2" presStyleCnt="0"/>
      <dgm:spPr/>
    </dgm:pt>
    <dgm:pt modelId="{DF23F979-C31D-4512-881C-5D28812F6AA4}" type="pres">
      <dgm:prSet presAssocID="{0ADBFA6E-18BF-4476-803F-7A8D65F82556}" presName="horzSpace2" presStyleCnt="0"/>
      <dgm:spPr/>
    </dgm:pt>
    <dgm:pt modelId="{08B1B8DE-E871-497A-9690-037009F5F175}" type="pres">
      <dgm:prSet presAssocID="{0ADBFA6E-18BF-4476-803F-7A8D65F82556}" presName="tx2" presStyleLbl="revTx" presStyleIdx="8" presStyleCnt="17"/>
      <dgm:spPr/>
    </dgm:pt>
    <dgm:pt modelId="{1C703C25-1315-4D9A-9FC1-2CFDBC7E5702}" type="pres">
      <dgm:prSet presAssocID="{0ADBFA6E-18BF-4476-803F-7A8D65F82556}" presName="vert2" presStyleCnt="0"/>
      <dgm:spPr/>
    </dgm:pt>
    <dgm:pt modelId="{5C30380A-8D7B-4250-8217-2CE2C540B2BD}" type="pres">
      <dgm:prSet presAssocID="{0ADBFA6E-18BF-4476-803F-7A8D65F82556}" presName="thinLine2b" presStyleLbl="callout" presStyleIdx="7" presStyleCnt="16"/>
      <dgm:spPr/>
    </dgm:pt>
    <dgm:pt modelId="{A10400E7-0D93-46F1-ADCE-511B0E9D96E3}" type="pres">
      <dgm:prSet presAssocID="{0ADBFA6E-18BF-4476-803F-7A8D65F82556}" presName="vertSpace2b" presStyleCnt="0"/>
      <dgm:spPr/>
    </dgm:pt>
    <dgm:pt modelId="{80DE269E-2F61-4876-A887-80869022EE9A}" type="pres">
      <dgm:prSet presAssocID="{88D65469-1E47-4878-87CA-F49260AB1537}" presName="horz2" presStyleCnt="0"/>
      <dgm:spPr/>
    </dgm:pt>
    <dgm:pt modelId="{981F93BD-B940-407C-A715-12B988DE8616}" type="pres">
      <dgm:prSet presAssocID="{88D65469-1E47-4878-87CA-F49260AB1537}" presName="horzSpace2" presStyleCnt="0"/>
      <dgm:spPr/>
    </dgm:pt>
    <dgm:pt modelId="{1B5D6913-E199-4039-A20B-CA5F4755B9ED}" type="pres">
      <dgm:prSet presAssocID="{88D65469-1E47-4878-87CA-F49260AB1537}" presName="tx2" presStyleLbl="revTx" presStyleIdx="9" presStyleCnt="17"/>
      <dgm:spPr/>
    </dgm:pt>
    <dgm:pt modelId="{B93415AB-1E23-40DA-B49F-2E243F582BA5}" type="pres">
      <dgm:prSet presAssocID="{88D65469-1E47-4878-87CA-F49260AB1537}" presName="vert2" presStyleCnt="0"/>
      <dgm:spPr/>
    </dgm:pt>
    <dgm:pt modelId="{4D870915-B8B4-4591-B866-F361B34BB9C0}" type="pres">
      <dgm:prSet presAssocID="{88D65469-1E47-4878-87CA-F49260AB1537}" presName="thinLine2b" presStyleLbl="callout" presStyleIdx="8" presStyleCnt="16"/>
      <dgm:spPr/>
    </dgm:pt>
    <dgm:pt modelId="{BA64682E-D91F-4B7B-A15E-DA1C8120648B}" type="pres">
      <dgm:prSet presAssocID="{88D65469-1E47-4878-87CA-F49260AB1537}" presName="vertSpace2b" presStyleCnt="0"/>
      <dgm:spPr/>
    </dgm:pt>
    <dgm:pt modelId="{A1F8282D-98DA-4A03-BD85-77FB907A49EC}" type="pres">
      <dgm:prSet presAssocID="{445F2F54-F9B9-464E-9407-346D114C37CC}" presName="horz2" presStyleCnt="0"/>
      <dgm:spPr/>
    </dgm:pt>
    <dgm:pt modelId="{B38B9349-D8FB-4A08-8E32-2D9C5697B792}" type="pres">
      <dgm:prSet presAssocID="{445F2F54-F9B9-464E-9407-346D114C37CC}" presName="horzSpace2" presStyleCnt="0"/>
      <dgm:spPr/>
    </dgm:pt>
    <dgm:pt modelId="{35583A45-9A6D-4A10-A2A6-A8E7EC7172E5}" type="pres">
      <dgm:prSet presAssocID="{445F2F54-F9B9-464E-9407-346D114C37CC}" presName="tx2" presStyleLbl="revTx" presStyleIdx="10" presStyleCnt="17"/>
      <dgm:spPr/>
    </dgm:pt>
    <dgm:pt modelId="{480399E8-BEFE-4CAB-AD93-D07260293A02}" type="pres">
      <dgm:prSet presAssocID="{445F2F54-F9B9-464E-9407-346D114C37CC}" presName="vert2" presStyleCnt="0"/>
      <dgm:spPr/>
    </dgm:pt>
    <dgm:pt modelId="{AC7BB51E-06C6-4833-81A5-41B0038DA01C}" type="pres">
      <dgm:prSet presAssocID="{445F2F54-F9B9-464E-9407-346D114C37CC}" presName="thinLine2b" presStyleLbl="callout" presStyleIdx="9" presStyleCnt="16"/>
      <dgm:spPr/>
    </dgm:pt>
    <dgm:pt modelId="{B22088F7-0255-433F-8811-6E7C095A471A}" type="pres">
      <dgm:prSet presAssocID="{445F2F54-F9B9-464E-9407-346D114C37CC}" presName="vertSpace2b" presStyleCnt="0"/>
      <dgm:spPr/>
    </dgm:pt>
    <dgm:pt modelId="{0361A772-926B-489F-A996-C9609154420F}" type="pres">
      <dgm:prSet presAssocID="{57220EE2-F05C-455C-92D0-F77287161B48}" presName="horz2" presStyleCnt="0"/>
      <dgm:spPr/>
    </dgm:pt>
    <dgm:pt modelId="{F0AE170B-AEB0-44E0-AF77-4D707B1D9D10}" type="pres">
      <dgm:prSet presAssocID="{57220EE2-F05C-455C-92D0-F77287161B48}" presName="horzSpace2" presStyleCnt="0"/>
      <dgm:spPr/>
    </dgm:pt>
    <dgm:pt modelId="{C86F2C1B-2D3B-4879-AE9F-213C70FCB66F}" type="pres">
      <dgm:prSet presAssocID="{57220EE2-F05C-455C-92D0-F77287161B48}" presName="tx2" presStyleLbl="revTx" presStyleIdx="11" presStyleCnt="17"/>
      <dgm:spPr/>
    </dgm:pt>
    <dgm:pt modelId="{BB6C5347-235B-424A-ACC2-4474601A9FF9}" type="pres">
      <dgm:prSet presAssocID="{57220EE2-F05C-455C-92D0-F77287161B48}" presName="vert2" presStyleCnt="0"/>
      <dgm:spPr/>
    </dgm:pt>
    <dgm:pt modelId="{E3DDFE8F-7B87-4A81-B86A-A773EED95464}" type="pres">
      <dgm:prSet presAssocID="{57220EE2-F05C-455C-92D0-F77287161B48}" presName="thinLine2b" presStyleLbl="callout" presStyleIdx="10" presStyleCnt="16"/>
      <dgm:spPr/>
    </dgm:pt>
    <dgm:pt modelId="{32911EC1-6098-4A89-87F3-456466E0338C}" type="pres">
      <dgm:prSet presAssocID="{57220EE2-F05C-455C-92D0-F77287161B48}" presName="vertSpace2b" presStyleCnt="0"/>
      <dgm:spPr/>
    </dgm:pt>
    <dgm:pt modelId="{D9E5B1CA-A00E-4DA7-9F4B-1A03262B9A5B}" type="pres">
      <dgm:prSet presAssocID="{B5D1E8F3-C949-4DCB-8EDF-B8EC8BF02049}" presName="horz2" presStyleCnt="0"/>
      <dgm:spPr/>
    </dgm:pt>
    <dgm:pt modelId="{7DCB0F95-454B-405A-842A-E00B8DF2A6EC}" type="pres">
      <dgm:prSet presAssocID="{B5D1E8F3-C949-4DCB-8EDF-B8EC8BF02049}" presName="horzSpace2" presStyleCnt="0"/>
      <dgm:spPr/>
    </dgm:pt>
    <dgm:pt modelId="{0E4E4016-7E8C-408B-A686-A8E1BCD4506D}" type="pres">
      <dgm:prSet presAssocID="{B5D1E8F3-C949-4DCB-8EDF-B8EC8BF02049}" presName="tx2" presStyleLbl="revTx" presStyleIdx="12" presStyleCnt="17"/>
      <dgm:spPr/>
    </dgm:pt>
    <dgm:pt modelId="{8E19583A-440A-4D6E-A8A2-41FD21E8485D}" type="pres">
      <dgm:prSet presAssocID="{B5D1E8F3-C949-4DCB-8EDF-B8EC8BF02049}" presName="vert2" presStyleCnt="0"/>
      <dgm:spPr/>
    </dgm:pt>
    <dgm:pt modelId="{45EE0D7F-6306-4B79-BAF5-563F5CBC8B64}" type="pres">
      <dgm:prSet presAssocID="{B5D1E8F3-C949-4DCB-8EDF-B8EC8BF02049}" presName="thinLine2b" presStyleLbl="callout" presStyleIdx="11" presStyleCnt="16"/>
      <dgm:spPr/>
    </dgm:pt>
    <dgm:pt modelId="{04654A8D-5C8E-4512-B571-E897F90DA7E0}" type="pres">
      <dgm:prSet presAssocID="{B5D1E8F3-C949-4DCB-8EDF-B8EC8BF02049}" presName="vertSpace2b" presStyleCnt="0"/>
      <dgm:spPr/>
    </dgm:pt>
    <dgm:pt modelId="{8437384F-0A5F-446B-9021-A85A33249FB8}" type="pres">
      <dgm:prSet presAssocID="{78156408-1511-4D46-849D-8138B1CDCD05}" presName="horz2" presStyleCnt="0"/>
      <dgm:spPr/>
    </dgm:pt>
    <dgm:pt modelId="{5EF1AFDA-2430-46B0-B4ED-905D500A3663}" type="pres">
      <dgm:prSet presAssocID="{78156408-1511-4D46-849D-8138B1CDCD05}" presName="horzSpace2" presStyleCnt="0"/>
      <dgm:spPr/>
    </dgm:pt>
    <dgm:pt modelId="{B42C7542-EC28-4D81-8500-63D2F65BF284}" type="pres">
      <dgm:prSet presAssocID="{78156408-1511-4D46-849D-8138B1CDCD05}" presName="tx2" presStyleLbl="revTx" presStyleIdx="13" presStyleCnt="17"/>
      <dgm:spPr/>
    </dgm:pt>
    <dgm:pt modelId="{0AFB59DC-A2F1-40B8-9F04-0D5AAA1DB7F2}" type="pres">
      <dgm:prSet presAssocID="{78156408-1511-4D46-849D-8138B1CDCD05}" presName="vert2" presStyleCnt="0"/>
      <dgm:spPr/>
    </dgm:pt>
    <dgm:pt modelId="{8D22B8BA-B4A0-4183-B08F-28001A2B6636}" type="pres">
      <dgm:prSet presAssocID="{78156408-1511-4D46-849D-8138B1CDCD05}" presName="thinLine2b" presStyleLbl="callout" presStyleIdx="12" presStyleCnt="16"/>
      <dgm:spPr/>
    </dgm:pt>
    <dgm:pt modelId="{6F242872-5467-4C65-AE61-D64FF48A5707}" type="pres">
      <dgm:prSet presAssocID="{78156408-1511-4D46-849D-8138B1CDCD05}" presName="vertSpace2b" presStyleCnt="0"/>
      <dgm:spPr/>
    </dgm:pt>
    <dgm:pt modelId="{CB7E1EB3-28FB-414B-9864-0B86E1B69C23}" type="pres">
      <dgm:prSet presAssocID="{11DC502B-0718-4D2F-A5E9-8EDAC1B76D35}" presName="horz2" presStyleCnt="0"/>
      <dgm:spPr/>
    </dgm:pt>
    <dgm:pt modelId="{5A9188A4-2A62-4B47-A740-7663528D6FE7}" type="pres">
      <dgm:prSet presAssocID="{11DC502B-0718-4D2F-A5E9-8EDAC1B76D35}" presName="horzSpace2" presStyleCnt="0"/>
      <dgm:spPr/>
    </dgm:pt>
    <dgm:pt modelId="{DB64D356-55DD-4D54-8146-C37FFE150EEA}" type="pres">
      <dgm:prSet presAssocID="{11DC502B-0718-4D2F-A5E9-8EDAC1B76D35}" presName="tx2" presStyleLbl="revTx" presStyleIdx="14" presStyleCnt="17"/>
      <dgm:spPr/>
    </dgm:pt>
    <dgm:pt modelId="{C93EF402-E55E-48CA-9305-993459FADA69}" type="pres">
      <dgm:prSet presAssocID="{11DC502B-0718-4D2F-A5E9-8EDAC1B76D35}" presName="vert2" presStyleCnt="0"/>
      <dgm:spPr/>
    </dgm:pt>
    <dgm:pt modelId="{0188A1DD-8A12-4846-825B-A9BD80E610E9}" type="pres">
      <dgm:prSet presAssocID="{11DC502B-0718-4D2F-A5E9-8EDAC1B76D35}" presName="thinLine2b" presStyleLbl="callout" presStyleIdx="13" presStyleCnt="16"/>
      <dgm:spPr/>
    </dgm:pt>
    <dgm:pt modelId="{FF08BA36-B119-4499-BEF6-AF84A0A5824B}" type="pres">
      <dgm:prSet presAssocID="{11DC502B-0718-4D2F-A5E9-8EDAC1B76D35}" presName="vertSpace2b" presStyleCnt="0"/>
      <dgm:spPr/>
    </dgm:pt>
    <dgm:pt modelId="{AC0238CA-68E6-458A-BE52-08129F6BDC69}" type="pres">
      <dgm:prSet presAssocID="{0933F751-5A5F-4F90-A282-1304CECB0A20}" presName="horz2" presStyleCnt="0"/>
      <dgm:spPr/>
    </dgm:pt>
    <dgm:pt modelId="{251B40F5-7C08-4986-B4C2-C2F54A128E2B}" type="pres">
      <dgm:prSet presAssocID="{0933F751-5A5F-4F90-A282-1304CECB0A20}" presName="horzSpace2" presStyleCnt="0"/>
      <dgm:spPr/>
    </dgm:pt>
    <dgm:pt modelId="{65E09B91-D9B3-4395-B3DA-2F44B903E33D}" type="pres">
      <dgm:prSet presAssocID="{0933F751-5A5F-4F90-A282-1304CECB0A20}" presName="tx2" presStyleLbl="revTx" presStyleIdx="15" presStyleCnt="17"/>
      <dgm:spPr/>
    </dgm:pt>
    <dgm:pt modelId="{64FE0328-7ECE-4A41-81FD-92BA09EE0944}" type="pres">
      <dgm:prSet presAssocID="{0933F751-5A5F-4F90-A282-1304CECB0A20}" presName="vert2" presStyleCnt="0"/>
      <dgm:spPr/>
    </dgm:pt>
    <dgm:pt modelId="{CECF0841-54CE-4DFB-95E8-C87BA9CBD1EB}" type="pres">
      <dgm:prSet presAssocID="{0933F751-5A5F-4F90-A282-1304CECB0A20}" presName="thinLine2b" presStyleLbl="callout" presStyleIdx="14" presStyleCnt="16"/>
      <dgm:spPr/>
    </dgm:pt>
    <dgm:pt modelId="{9EFC3F19-E639-423B-92DB-1EB36788E551}" type="pres">
      <dgm:prSet presAssocID="{0933F751-5A5F-4F90-A282-1304CECB0A20}" presName="vertSpace2b" presStyleCnt="0"/>
      <dgm:spPr/>
    </dgm:pt>
    <dgm:pt modelId="{8AD04E3A-F569-4DC0-A756-5EA2DE565310}" type="pres">
      <dgm:prSet presAssocID="{83DFAAB1-9DE1-4C20-B578-670F3120E15D}" presName="horz2" presStyleCnt="0"/>
      <dgm:spPr/>
    </dgm:pt>
    <dgm:pt modelId="{6E3FCD69-3B7E-42C3-A1FD-DBECCEBB1C6E}" type="pres">
      <dgm:prSet presAssocID="{83DFAAB1-9DE1-4C20-B578-670F3120E15D}" presName="horzSpace2" presStyleCnt="0"/>
      <dgm:spPr/>
    </dgm:pt>
    <dgm:pt modelId="{2D35330D-E0B5-4D0E-8A8B-25B4E6666D46}" type="pres">
      <dgm:prSet presAssocID="{83DFAAB1-9DE1-4C20-B578-670F3120E15D}" presName="tx2" presStyleLbl="revTx" presStyleIdx="16" presStyleCnt="17"/>
      <dgm:spPr/>
    </dgm:pt>
    <dgm:pt modelId="{FD9E9281-2B4E-4A69-B276-9BDAA7B57C1C}" type="pres">
      <dgm:prSet presAssocID="{83DFAAB1-9DE1-4C20-B578-670F3120E15D}" presName="vert2" presStyleCnt="0"/>
      <dgm:spPr/>
    </dgm:pt>
    <dgm:pt modelId="{E34AA8E0-28F4-4AD9-A916-75294B6038A1}" type="pres">
      <dgm:prSet presAssocID="{83DFAAB1-9DE1-4C20-B578-670F3120E15D}" presName="thinLine2b" presStyleLbl="callout" presStyleIdx="15" presStyleCnt="16"/>
      <dgm:spPr/>
    </dgm:pt>
    <dgm:pt modelId="{FA6F3BD3-B07D-4554-BF0C-35BAA818B0C8}" type="pres">
      <dgm:prSet presAssocID="{83DFAAB1-9DE1-4C20-B578-670F3120E15D}" presName="vertSpace2b" presStyleCnt="0"/>
      <dgm:spPr/>
    </dgm:pt>
  </dgm:ptLst>
  <dgm:cxnLst>
    <dgm:cxn modelId="{CBC99C03-F723-4267-B5D3-9342247A17B9}" srcId="{311C52F4-E2A6-43BB-8B85-940807987884}" destId="{71776D91-FF32-4A2F-A6D1-0CBF3B8F5561}" srcOrd="6" destOrd="0" parTransId="{8BE79FBA-0BE4-4170-8B54-D79E236BEE37}" sibTransId="{D73BCBC0-033B-412A-AE5B-203F71D7D93E}"/>
    <dgm:cxn modelId="{AD8CA806-3CEF-413D-ACAB-091CEC0ADDA4}" srcId="{95F33173-4810-47E2-834C-D9773AAEE097}" destId="{311C52F4-E2A6-43BB-8B85-940807987884}" srcOrd="0" destOrd="0" parTransId="{E2F706DD-E8A6-4EEB-A8F5-71AEB3805D87}" sibTransId="{1F2626F3-5054-4EBE-9FA4-7E4BF871A7D5}"/>
    <dgm:cxn modelId="{6689021C-F081-4934-8BD0-3B79A156DAD5}" srcId="{311C52F4-E2A6-43BB-8B85-940807987884}" destId="{E3D2925F-CDE0-4C88-97C0-5A59340C8D38}" srcOrd="4" destOrd="0" parTransId="{AFA8365A-FE51-46A3-8578-9FAC618C4991}" sibTransId="{22CCD865-0A93-43E7-A60D-2CB56FCD8A01}"/>
    <dgm:cxn modelId="{C5CC471C-ED7C-46BA-B68D-C5136D34C2E5}" srcId="{311C52F4-E2A6-43BB-8B85-940807987884}" destId="{16941BDF-6B2A-4F23-8A31-7FE3050C02B0}" srcOrd="5" destOrd="0" parTransId="{E2974906-EE98-41F7-8F59-225D6A5D869B}" sibTransId="{5B5EB569-C92B-4480-B122-95CECA9ABEC1}"/>
    <dgm:cxn modelId="{2D3A2624-AB7B-4300-88F5-4B74A8F7E09B}" type="presOf" srcId="{78156408-1511-4D46-849D-8138B1CDCD05}" destId="{B42C7542-EC28-4D81-8500-63D2F65BF284}" srcOrd="0" destOrd="0" presId="urn:microsoft.com/office/officeart/2008/layout/LinedList"/>
    <dgm:cxn modelId="{8F2C1628-6A37-4FE5-BC11-6A62D9279432}" type="presOf" srcId="{BB7DA02E-E517-4EE5-AEA7-A13B379BE4A5}" destId="{ACD230D0-FFF4-4F83-9643-7EA2BC075469}" srcOrd="0" destOrd="0" presId="urn:microsoft.com/office/officeart/2008/layout/LinedList"/>
    <dgm:cxn modelId="{2A240B32-B89D-480C-B361-A0C4E897B310}" srcId="{311C52F4-E2A6-43BB-8B85-940807987884}" destId="{60B3CEAA-6526-4F9F-AFC8-371B6E34BDAB}" srcOrd="0" destOrd="0" parTransId="{C260140B-D5BE-43E6-8FE2-EE7B232E0374}" sibTransId="{8275358D-4CAD-4EE4-AB7B-280B0323EC9A}"/>
    <dgm:cxn modelId="{81980639-8479-456B-AEC9-013AD6881534}" type="presOf" srcId="{88D65469-1E47-4878-87CA-F49260AB1537}" destId="{1B5D6913-E199-4039-A20B-CA5F4755B9ED}" srcOrd="0" destOrd="0" presId="urn:microsoft.com/office/officeart/2008/layout/LinedList"/>
    <dgm:cxn modelId="{38D5B046-1252-4872-B797-C465A0063CBA}" type="presOf" srcId="{0933F751-5A5F-4F90-A282-1304CECB0A20}" destId="{65E09B91-D9B3-4395-B3DA-2F44B903E33D}" srcOrd="0" destOrd="0" presId="urn:microsoft.com/office/officeart/2008/layout/LinedList"/>
    <dgm:cxn modelId="{9D5C1148-DA1C-41BF-B2D1-A4CB184B80AF}" srcId="{311C52F4-E2A6-43BB-8B85-940807987884}" destId="{78156408-1511-4D46-849D-8138B1CDCD05}" srcOrd="12" destOrd="0" parTransId="{C942E23E-20AD-4EA3-A7DF-66BEFB142269}" sibTransId="{937321A8-7FEC-4FA4-9B29-E6EB7ABD308B}"/>
    <dgm:cxn modelId="{92E4384E-C108-4450-BC3E-7BAB04FE8A25}" type="presOf" srcId="{499280DE-C97D-40E5-93DF-503509814596}" destId="{BE46E154-A1A8-41F1-8E54-1EE6C27C18E4}" srcOrd="0" destOrd="0" presId="urn:microsoft.com/office/officeart/2008/layout/LinedList"/>
    <dgm:cxn modelId="{6980F64E-A28C-4374-861F-B06F8861EEF6}" srcId="{311C52F4-E2A6-43BB-8B85-940807987884}" destId="{88D65469-1E47-4878-87CA-F49260AB1537}" srcOrd="8" destOrd="0" parTransId="{E8DF206F-B217-4A7F-ABD0-EE0C67009FE3}" sibTransId="{8BE31E64-9014-400E-9B11-4E4C3C032997}"/>
    <dgm:cxn modelId="{B38F524F-F6BD-4D8C-8B25-E2ADBD42C47C}" type="presOf" srcId="{60B3CEAA-6526-4F9F-AFC8-371B6E34BDAB}" destId="{AC089D7D-CF93-4FD2-BA9F-1EED0D953510}" srcOrd="0" destOrd="0" presId="urn:microsoft.com/office/officeart/2008/layout/LinedList"/>
    <dgm:cxn modelId="{F0A5BB7D-9336-4D16-B7C2-27FFAD5882EF}" type="presOf" srcId="{311C52F4-E2A6-43BB-8B85-940807987884}" destId="{90C38840-F6DA-4B15-BF7D-AF57FD138F64}" srcOrd="0" destOrd="0" presId="urn:microsoft.com/office/officeart/2008/layout/LinedList"/>
    <dgm:cxn modelId="{213D8180-E66D-4EB3-9A89-113C493DEDB0}" type="presOf" srcId="{71776D91-FF32-4A2F-A6D1-0CBF3B8F5561}" destId="{456CD534-1D90-451B-B242-846092421D6D}" srcOrd="0" destOrd="0" presId="urn:microsoft.com/office/officeart/2008/layout/LinedList"/>
    <dgm:cxn modelId="{8B94B687-5DAE-4A25-B3B7-EB0C526769C3}" srcId="{311C52F4-E2A6-43BB-8B85-940807987884}" destId="{445F2F54-F9B9-464E-9407-346D114C37CC}" srcOrd="9" destOrd="0" parTransId="{AC9735AF-6708-4FDF-964F-CFE0E5B375EE}" sibTransId="{DB43E4BE-6040-4C33-9001-4A018B49E24F}"/>
    <dgm:cxn modelId="{DBEDA788-430E-4F34-829A-423AD1C54628}" srcId="{311C52F4-E2A6-43BB-8B85-940807987884}" destId="{B5D1E8F3-C949-4DCB-8EDF-B8EC8BF02049}" srcOrd="11" destOrd="0" parTransId="{9FCCCA2D-E38C-4445-BB1F-F357AFB66F08}" sibTransId="{90069487-E724-42E2-B681-E2DA2039EDC8}"/>
    <dgm:cxn modelId="{507AB98F-E1F9-49BB-906F-BA187EF6AF93}" srcId="{311C52F4-E2A6-43BB-8B85-940807987884}" destId="{0ADBFA6E-18BF-4476-803F-7A8D65F82556}" srcOrd="7" destOrd="0" parTransId="{9A3E56EA-51FB-444D-A7A7-9C450B769342}" sibTransId="{0036E42C-01B5-43AC-A409-766B5F8D9FF7}"/>
    <dgm:cxn modelId="{F32F57A0-5D3B-43CF-B50C-08169C73904F}" type="presOf" srcId="{57220EE2-F05C-455C-92D0-F77287161B48}" destId="{C86F2C1B-2D3B-4879-AE9F-213C70FCB66F}" srcOrd="0" destOrd="0" presId="urn:microsoft.com/office/officeart/2008/layout/LinedList"/>
    <dgm:cxn modelId="{CD2550AE-2128-4DE0-8B75-E0AFF2993C36}" type="presOf" srcId="{904C8F1F-D6CA-46B2-983D-6A2E351D43C7}" destId="{BF82B72D-A957-43F3-92BB-B010F16E3D36}" srcOrd="0" destOrd="0" presId="urn:microsoft.com/office/officeart/2008/layout/LinedList"/>
    <dgm:cxn modelId="{06DDECAE-414E-48C3-9D67-8F5D5EE91701}" srcId="{311C52F4-E2A6-43BB-8B85-940807987884}" destId="{BB7DA02E-E517-4EE5-AEA7-A13B379BE4A5}" srcOrd="1" destOrd="0" parTransId="{1466A4FA-3A3D-485A-ABDA-8B4E9FA2C2E1}" sibTransId="{498AED54-0111-4909-90B9-C672646F664D}"/>
    <dgm:cxn modelId="{14A010B8-7EFA-43BD-A84C-ABA77F7B1E03}" type="presOf" srcId="{11DC502B-0718-4D2F-A5E9-8EDAC1B76D35}" destId="{DB64D356-55DD-4D54-8146-C37FFE150EEA}" srcOrd="0" destOrd="0" presId="urn:microsoft.com/office/officeart/2008/layout/LinedList"/>
    <dgm:cxn modelId="{599E11BC-CC65-4AC2-A5D8-D02227029C65}" srcId="{311C52F4-E2A6-43BB-8B85-940807987884}" destId="{57220EE2-F05C-455C-92D0-F77287161B48}" srcOrd="10" destOrd="0" parTransId="{8AEFE465-986F-4DEF-BF0E-4A3F44AA9BC3}" sibTransId="{C30DA572-0F45-4661-8B7D-75A835311809}"/>
    <dgm:cxn modelId="{586F79BD-7444-4723-AC45-DDD5DC3C1FC9}" srcId="{311C52F4-E2A6-43BB-8B85-940807987884}" destId="{83DFAAB1-9DE1-4C20-B578-670F3120E15D}" srcOrd="15" destOrd="0" parTransId="{587A9CC3-677E-4899-96D2-1D84670A35DA}" sibTransId="{A2560A8C-0BC4-48D1-9312-49677D61FC24}"/>
    <dgm:cxn modelId="{C24EBBBD-51D0-4EB8-9DCC-49AD49C4FAC4}" srcId="{311C52F4-E2A6-43BB-8B85-940807987884}" destId="{904C8F1F-D6CA-46B2-983D-6A2E351D43C7}" srcOrd="2" destOrd="0" parTransId="{F9F1BF08-0718-49F2-9008-132A4616C980}" sibTransId="{8E4EAE57-D7BE-4FAA-AE64-BAD8CC9F42C8}"/>
    <dgm:cxn modelId="{FC7B3DD8-CF24-4F4C-9BE3-A8F55067A9C9}" type="presOf" srcId="{16941BDF-6B2A-4F23-8A31-7FE3050C02B0}" destId="{A57C2110-462D-472D-BA17-3F97043017A8}" srcOrd="0" destOrd="0" presId="urn:microsoft.com/office/officeart/2008/layout/LinedList"/>
    <dgm:cxn modelId="{74578FDC-E39C-4DEE-8018-68645BB145AD}" type="presOf" srcId="{E3D2925F-CDE0-4C88-97C0-5A59340C8D38}" destId="{A266113C-D01C-454F-B608-24A614AA1CA5}" srcOrd="0" destOrd="0" presId="urn:microsoft.com/office/officeart/2008/layout/LinedList"/>
    <dgm:cxn modelId="{96E5E4E1-D6EF-44DC-9C8A-1A666A2C951D}" type="presOf" srcId="{445F2F54-F9B9-464E-9407-346D114C37CC}" destId="{35583A45-9A6D-4A10-A2A6-A8E7EC7172E5}" srcOrd="0" destOrd="0" presId="urn:microsoft.com/office/officeart/2008/layout/LinedList"/>
    <dgm:cxn modelId="{279EC6EF-D3CA-466A-B9B8-9E651862A54B}" type="presOf" srcId="{95F33173-4810-47E2-834C-D9773AAEE097}" destId="{A76AB44F-4232-4A9B-AEBF-85B83C1CC9E1}" srcOrd="0" destOrd="0" presId="urn:microsoft.com/office/officeart/2008/layout/LinedList"/>
    <dgm:cxn modelId="{F8C45BF1-6013-43BE-ADF0-A0DACAA22C85}" srcId="{311C52F4-E2A6-43BB-8B85-940807987884}" destId="{499280DE-C97D-40E5-93DF-503509814596}" srcOrd="3" destOrd="0" parTransId="{2216FD49-1709-4277-843A-AE83DA5306D9}" sibTransId="{C1473B3E-E0AE-4CD9-8887-B9ABFD54BED9}"/>
    <dgm:cxn modelId="{4390A4F6-D42F-4D71-8FC9-665C292C8555}" srcId="{311C52F4-E2A6-43BB-8B85-940807987884}" destId="{11DC502B-0718-4D2F-A5E9-8EDAC1B76D35}" srcOrd="13" destOrd="0" parTransId="{5AEE2A2E-D6A6-4209-9150-DF0CE5966CEC}" sibTransId="{DE6C9287-BDEB-4E78-A72F-AAA7E3D2DAD0}"/>
    <dgm:cxn modelId="{91A8F4F6-63FD-48C1-8C17-C1AAF95819E0}" type="presOf" srcId="{B5D1E8F3-C949-4DCB-8EDF-B8EC8BF02049}" destId="{0E4E4016-7E8C-408B-A686-A8E1BCD4506D}" srcOrd="0" destOrd="0" presId="urn:microsoft.com/office/officeart/2008/layout/LinedList"/>
    <dgm:cxn modelId="{B9F6BFF7-975B-4071-BC41-52888D18243D}" type="presOf" srcId="{83DFAAB1-9DE1-4C20-B578-670F3120E15D}" destId="{2D35330D-E0B5-4D0E-8A8B-25B4E6666D46}" srcOrd="0" destOrd="0" presId="urn:microsoft.com/office/officeart/2008/layout/LinedList"/>
    <dgm:cxn modelId="{BCB382F8-DFE2-4DF7-89B3-C6342E676E31}" srcId="{311C52F4-E2A6-43BB-8B85-940807987884}" destId="{0933F751-5A5F-4F90-A282-1304CECB0A20}" srcOrd="14" destOrd="0" parTransId="{863B13C7-72E7-40FB-A7D1-1C6E065EBF1D}" sibTransId="{F48A6CAC-82FC-46AF-9B67-87F7B98D24B2}"/>
    <dgm:cxn modelId="{B7E4F9FB-8B08-4697-9FB5-0120B112DDF4}" type="presOf" srcId="{0ADBFA6E-18BF-4476-803F-7A8D65F82556}" destId="{08B1B8DE-E871-497A-9690-037009F5F175}" srcOrd="0" destOrd="0" presId="urn:microsoft.com/office/officeart/2008/layout/LinedList"/>
    <dgm:cxn modelId="{B884F153-410A-4B01-8B0C-584FAFC93B70}" type="presParOf" srcId="{A76AB44F-4232-4A9B-AEBF-85B83C1CC9E1}" destId="{AEDA5F68-DB38-4CBB-85E6-7C7C9768F978}" srcOrd="0" destOrd="0" presId="urn:microsoft.com/office/officeart/2008/layout/LinedList"/>
    <dgm:cxn modelId="{03454406-9492-4B51-82AC-44D193AB7ED3}" type="presParOf" srcId="{A76AB44F-4232-4A9B-AEBF-85B83C1CC9E1}" destId="{03A2C246-2D08-49D1-B4F6-5DBD027F0D11}" srcOrd="1" destOrd="0" presId="urn:microsoft.com/office/officeart/2008/layout/LinedList"/>
    <dgm:cxn modelId="{022E5678-41EE-4695-9DA5-5A9EDDFC29E4}" type="presParOf" srcId="{03A2C246-2D08-49D1-B4F6-5DBD027F0D11}" destId="{90C38840-F6DA-4B15-BF7D-AF57FD138F64}" srcOrd="0" destOrd="0" presId="urn:microsoft.com/office/officeart/2008/layout/LinedList"/>
    <dgm:cxn modelId="{0A47188F-FBB6-4FF6-9567-6AEC13ADB9F8}" type="presParOf" srcId="{03A2C246-2D08-49D1-B4F6-5DBD027F0D11}" destId="{31BCD210-338C-448F-BBA4-5CB0E93FAB76}" srcOrd="1" destOrd="0" presId="urn:microsoft.com/office/officeart/2008/layout/LinedList"/>
    <dgm:cxn modelId="{458A764F-29F8-489C-8D93-F3F16545E92F}" type="presParOf" srcId="{31BCD210-338C-448F-BBA4-5CB0E93FAB76}" destId="{70B5DD39-F0E6-4CCD-A976-9336E6EDA19B}" srcOrd="0" destOrd="0" presId="urn:microsoft.com/office/officeart/2008/layout/LinedList"/>
    <dgm:cxn modelId="{D6E053A1-B004-4586-A867-AAFFD837BD78}" type="presParOf" srcId="{31BCD210-338C-448F-BBA4-5CB0E93FAB76}" destId="{0296FAA2-AE4C-45CC-B57B-8F72A58ADA85}" srcOrd="1" destOrd="0" presId="urn:microsoft.com/office/officeart/2008/layout/LinedList"/>
    <dgm:cxn modelId="{539223C0-5B16-41D2-8FEC-C735518F3F6D}" type="presParOf" srcId="{0296FAA2-AE4C-45CC-B57B-8F72A58ADA85}" destId="{7AACAC38-353A-45A2-A6F4-AB83EBD72D04}" srcOrd="0" destOrd="0" presId="urn:microsoft.com/office/officeart/2008/layout/LinedList"/>
    <dgm:cxn modelId="{121F2519-4EC0-428B-B261-F1435C3B3E9D}" type="presParOf" srcId="{0296FAA2-AE4C-45CC-B57B-8F72A58ADA85}" destId="{AC089D7D-CF93-4FD2-BA9F-1EED0D953510}" srcOrd="1" destOrd="0" presId="urn:microsoft.com/office/officeart/2008/layout/LinedList"/>
    <dgm:cxn modelId="{348A9D89-9070-4D1F-AE41-9AC86F24C017}" type="presParOf" srcId="{0296FAA2-AE4C-45CC-B57B-8F72A58ADA85}" destId="{5928A09A-52C2-4FCA-819D-3E354B694261}" srcOrd="2" destOrd="0" presId="urn:microsoft.com/office/officeart/2008/layout/LinedList"/>
    <dgm:cxn modelId="{3AE3BBB9-C6F6-4DF3-AB6B-3B25D8A949A5}" type="presParOf" srcId="{31BCD210-338C-448F-BBA4-5CB0E93FAB76}" destId="{A32CE9FA-C2CB-4C6B-9FAE-461A308FEF09}" srcOrd="2" destOrd="0" presId="urn:microsoft.com/office/officeart/2008/layout/LinedList"/>
    <dgm:cxn modelId="{860B8E21-CD15-45E4-B33A-2D5687863F35}" type="presParOf" srcId="{31BCD210-338C-448F-BBA4-5CB0E93FAB76}" destId="{E21BB954-3E77-4FA9-93A8-84FE98208B32}" srcOrd="3" destOrd="0" presId="urn:microsoft.com/office/officeart/2008/layout/LinedList"/>
    <dgm:cxn modelId="{3572ECC3-D947-4997-AB53-2CEF2AF75A4A}" type="presParOf" srcId="{31BCD210-338C-448F-BBA4-5CB0E93FAB76}" destId="{190981D1-B1C9-40B1-8AAC-5502C48ACFE8}" srcOrd="4" destOrd="0" presId="urn:microsoft.com/office/officeart/2008/layout/LinedList"/>
    <dgm:cxn modelId="{D336C9FA-F111-41F1-A559-22173C237498}" type="presParOf" srcId="{190981D1-B1C9-40B1-8AAC-5502C48ACFE8}" destId="{73287DA4-4908-4E8B-A9FE-08BE2D0805DF}" srcOrd="0" destOrd="0" presId="urn:microsoft.com/office/officeart/2008/layout/LinedList"/>
    <dgm:cxn modelId="{8AA7A40E-FA58-41A6-B35B-E35CD3DD5C52}" type="presParOf" srcId="{190981D1-B1C9-40B1-8AAC-5502C48ACFE8}" destId="{ACD230D0-FFF4-4F83-9643-7EA2BC075469}" srcOrd="1" destOrd="0" presId="urn:microsoft.com/office/officeart/2008/layout/LinedList"/>
    <dgm:cxn modelId="{1E1AF8CD-36B9-4E85-AC8F-006956833FE6}" type="presParOf" srcId="{190981D1-B1C9-40B1-8AAC-5502C48ACFE8}" destId="{A61784A7-BE43-4615-B446-070B34878E46}" srcOrd="2" destOrd="0" presId="urn:microsoft.com/office/officeart/2008/layout/LinedList"/>
    <dgm:cxn modelId="{D1D29DAB-DB79-4CB7-B012-6E7003473E51}" type="presParOf" srcId="{31BCD210-338C-448F-BBA4-5CB0E93FAB76}" destId="{75B164C9-7B3F-4CAA-8BDE-8B04E56E05B1}" srcOrd="5" destOrd="0" presId="urn:microsoft.com/office/officeart/2008/layout/LinedList"/>
    <dgm:cxn modelId="{D46DCE02-68B0-46AC-95F0-0CB470AAF820}" type="presParOf" srcId="{31BCD210-338C-448F-BBA4-5CB0E93FAB76}" destId="{29C174D5-A046-4462-8037-C660B5C7CDE8}" srcOrd="6" destOrd="0" presId="urn:microsoft.com/office/officeart/2008/layout/LinedList"/>
    <dgm:cxn modelId="{2AAF3D37-2394-4C21-802F-F7A688DC9A8C}" type="presParOf" srcId="{31BCD210-338C-448F-BBA4-5CB0E93FAB76}" destId="{470DBE40-1B9B-4809-8AB0-471EAF9EE1DD}" srcOrd="7" destOrd="0" presId="urn:microsoft.com/office/officeart/2008/layout/LinedList"/>
    <dgm:cxn modelId="{549E5272-19F3-42FB-8FBC-478063F6F38E}" type="presParOf" srcId="{470DBE40-1B9B-4809-8AB0-471EAF9EE1DD}" destId="{74678753-528A-42C9-B59F-EF2DCAB13559}" srcOrd="0" destOrd="0" presId="urn:microsoft.com/office/officeart/2008/layout/LinedList"/>
    <dgm:cxn modelId="{68EB81E6-4AF4-4858-8D63-0D574E841D01}" type="presParOf" srcId="{470DBE40-1B9B-4809-8AB0-471EAF9EE1DD}" destId="{BF82B72D-A957-43F3-92BB-B010F16E3D36}" srcOrd="1" destOrd="0" presId="urn:microsoft.com/office/officeart/2008/layout/LinedList"/>
    <dgm:cxn modelId="{0C8C649A-13B7-417E-AC79-1C488AA04599}" type="presParOf" srcId="{470DBE40-1B9B-4809-8AB0-471EAF9EE1DD}" destId="{D1400BFD-46E1-4B38-BF30-533F19201A0A}" srcOrd="2" destOrd="0" presId="urn:microsoft.com/office/officeart/2008/layout/LinedList"/>
    <dgm:cxn modelId="{BB3F8C30-9F7F-4B31-AAA1-B6D86E2948BB}" type="presParOf" srcId="{31BCD210-338C-448F-BBA4-5CB0E93FAB76}" destId="{6352B019-5E33-4940-B043-FACB9F821A15}" srcOrd="8" destOrd="0" presId="urn:microsoft.com/office/officeart/2008/layout/LinedList"/>
    <dgm:cxn modelId="{600D5545-75D7-4A9C-99DE-078A318D7E29}" type="presParOf" srcId="{31BCD210-338C-448F-BBA4-5CB0E93FAB76}" destId="{D4C42D89-83E7-4AA4-9131-84FFC8583035}" srcOrd="9" destOrd="0" presId="urn:microsoft.com/office/officeart/2008/layout/LinedList"/>
    <dgm:cxn modelId="{15C64758-A91E-47DE-8DFB-C49BAEC8B588}" type="presParOf" srcId="{31BCD210-338C-448F-BBA4-5CB0E93FAB76}" destId="{4238EEC5-5830-4134-916B-028923DF85EE}" srcOrd="10" destOrd="0" presId="urn:microsoft.com/office/officeart/2008/layout/LinedList"/>
    <dgm:cxn modelId="{780D2C51-D9BB-4CDB-B7EE-585DB03BDFF7}" type="presParOf" srcId="{4238EEC5-5830-4134-916B-028923DF85EE}" destId="{8D981AEC-9055-492C-9C9B-7087535D1221}" srcOrd="0" destOrd="0" presId="urn:microsoft.com/office/officeart/2008/layout/LinedList"/>
    <dgm:cxn modelId="{B7633111-710C-47B8-9E31-8046D48C7258}" type="presParOf" srcId="{4238EEC5-5830-4134-916B-028923DF85EE}" destId="{BE46E154-A1A8-41F1-8E54-1EE6C27C18E4}" srcOrd="1" destOrd="0" presId="urn:microsoft.com/office/officeart/2008/layout/LinedList"/>
    <dgm:cxn modelId="{EF9F3732-66AE-4D78-A5F5-7E8F1A992F1D}" type="presParOf" srcId="{4238EEC5-5830-4134-916B-028923DF85EE}" destId="{944D918B-A0EA-4A4F-A48E-FEBD7554B6C4}" srcOrd="2" destOrd="0" presId="urn:microsoft.com/office/officeart/2008/layout/LinedList"/>
    <dgm:cxn modelId="{F1743CBB-47C9-4184-A1BB-84CF10ABCDFF}" type="presParOf" srcId="{31BCD210-338C-448F-BBA4-5CB0E93FAB76}" destId="{29FB5101-C34E-434D-B584-27B03120ED35}" srcOrd="11" destOrd="0" presId="urn:microsoft.com/office/officeart/2008/layout/LinedList"/>
    <dgm:cxn modelId="{29E0A087-6F31-4061-8D25-C7088520C0EE}" type="presParOf" srcId="{31BCD210-338C-448F-BBA4-5CB0E93FAB76}" destId="{C1FC5466-C847-408B-8819-2258E5EE9365}" srcOrd="12" destOrd="0" presId="urn:microsoft.com/office/officeart/2008/layout/LinedList"/>
    <dgm:cxn modelId="{7748730C-6215-4D62-A2FA-42241C469DA1}" type="presParOf" srcId="{31BCD210-338C-448F-BBA4-5CB0E93FAB76}" destId="{2683529D-715D-4910-AA72-A06A180D83D5}" srcOrd="13" destOrd="0" presId="urn:microsoft.com/office/officeart/2008/layout/LinedList"/>
    <dgm:cxn modelId="{7179D63D-DEFD-4F0A-B844-BA1B68269394}" type="presParOf" srcId="{2683529D-715D-4910-AA72-A06A180D83D5}" destId="{ED694447-ABBF-43C8-A275-ED4AC80C6653}" srcOrd="0" destOrd="0" presId="urn:microsoft.com/office/officeart/2008/layout/LinedList"/>
    <dgm:cxn modelId="{63B88F0A-7B64-40A6-A6AD-9CDC66A8F494}" type="presParOf" srcId="{2683529D-715D-4910-AA72-A06A180D83D5}" destId="{A266113C-D01C-454F-B608-24A614AA1CA5}" srcOrd="1" destOrd="0" presId="urn:microsoft.com/office/officeart/2008/layout/LinedList"/>
    <dgm:cxn modelId="{8E2F8B2A-B2C3-4262-A90A-C52F7328609B}" type="presParOf" srcId="{2683529D-715D-4910-AA72-A06A180D83D5}" destId="{2A3F5676-F1BB-43FD-9A1C-37438C0FCCFD}" srcOrd="2" destOrd="0" presId="urn:microsoft.com/office/officeart/2008/layout/LinedList"/>
    <dgm:cxn modelId="{689734E3-F026-4A9E-A2AC-6852E40EE201}" type="presParOf" srcId="{31BCD210-338C-448F-BBA4-5CB0E93FAB76}" destId="{7FE41DAE-B5DD-4A95-8B67-9E6839C8C95E}" srcOrd="14" destOrd="0" presId="urn:microsoft.com/office/officeart/2008/layout/LinedList"/>
    <dgm:cxn modelId="{E8794212-1F36-4BCB-9A3F-579BAFA6E476}" type="presParOf" srcId="{31BCD210-338C-448F-BBA4-5CB0E93FAB76}" destId="{9C65A940-77E2-495F-BB59-CF15ED04ADB8}" srcOrd="15" destOrd="0" presId="urn:microsoft.com/office/officeart/2008/layout/LinedList"/>
    <dgm:cxn modelId="{E6912DFD-B20C-44D2-B11D-AF099CB7EB6E}" type="presParOf" srcId="{31BCD210-338C-448F-BBA4-5CB0E93FAB76}" destId="{50E79312-A549-445A-86F4-8066C6156B2C}" srcOrd="16" destOrd="0" presId="urn:microsoft.com/office/officeart/2008/layout/LinedList"/>
    <dgm:cxn modelId="{1A1640C5-6818-4C84-A74E-459041BF1CBD}" type="presParOf" srcId="{50E79312-A549-445A-86F4-8066C6156B2C}" destId="{1C6F8C43-8EC9-488E-BDB6-41E7C2E34C01}" srcOrd="0" destOrd="0" presId="urn:microsoft.com/office/officeart/2008/layout/LinedList"/>
    <dgm:cxn modelId="{71128051-80F0-46CF-8250-BF1F36C9526D}" type="presParOf" srcId="{50E79312-A549-445A-86F4-8066C6156B2C}" destId="{A57C2110-462D-472D-BA17-3F97043017A8}" srcOrd="1" destOrd="0" presId="urn:microsoft.com/office/officeart/2008/layout/LinedList"/>
    <dgm:cxn modelId="{6193A0A8-BF4E-49FD-8526-184297D911F9}" type="presParOf" srcId="{50E79312-A549-445A-86F4-8066C6156B2C}" destId="{C434FB3B-F1AA-4798-BC4D-6D15FCBB0E68}" srcOrd="2" destOrd="0" presId="urn:microsoft.com/office/officeart/2008/layout/LinedList"/>
    <dgm:cxn modelId="{4F8CC773-909B-4E76-85C0-7E956DB0515B}" type="presParOf" srcId="{31BCD210-338C-448F-BBA4-5CB0E93FAB76}" destId="{AAD56D4D-45F3-4C30-A5DC-515783A926A2}" srcOrd="17" destOrd="0" presId="urn:microsoft.com/office/officeart/2008/layout/LinedList"/>
    <dgm:cxn modelId="{8D3196FF-5791-4E30-A747-67FFF0401827}" type="presParOf" srcId="{31BCD210-338C-448F-BBA4-5CB0E93FAB76}" destId="{CCDC5735-7481-4233-A32C-44182AA1860B}" srcOrd="18" destOrd="0" presId="urn:microsoft.com/office/officeart/2008/layout/LinedList"/>
    <dgm:cxn modelId="{BF01DCDD-CAA0-4536-9B8D-9E3AA8C78703}" type="presParOf" srcId="{31BCD210-338C-448F-BBA4-5CB0E93FAB76}" destId="{368A2896-023A-4017-AC08-9F8A6473A230}" srcOrd="19" destOrd="0" presId="urn:microsoft.com/office/officeart/2008/layout/LinedList"/>
    <dgm:cxn modelId="{8C23AB33-141B-493A-9BA8-FF3181DAC952}" type="presParOf" srcId="{368A2896-023A-4017-AC08-9F8A6473A230}" destId="{C8B26C78-7D69-4A58-9A1C-8C79424CFFFC}" srcOrd="0" destOrd="0" presId="urn:microsoft.com/office/officeart/2008/layout/LinedList"/>
    <dgm:cxn modelId="{1BE9F578-1E21-4D3D-80C7-BBF3A8A01F3B}" type="presParOf" srcId="{368A2896-023A-4017-AC08-9F8A6473A230}" destId="{456CD534-1D90-451B-B242-846092421D6D}" srcOrd="1" destOrd="0" presId="urn:microsoft.com/office/officeart/2008/layout/LinedList"/>
    <dgm:cxn modelId="{9A64FA40-2241-4548-99CD-B0640CE610A4}" type="presParOf" srcId="{368A2896-023A-4017-AC08-9F8A6473A230}" destId="{A58D505C-FEF9-441E-90E1-A8B39A2AC4F0}" srcOrd="2" destOrd="0" presId="urn:microsoft.com/office/officeart/2008/layout/LinedList"/>
    <dgm:cxn modelId="{FA447D64-B461-45C2-9CC3-64FE7C9CE853}" type="presParOf" srcId="{31BCD210-338C-448F-BBA4-5CB0E93FAB76}" destId="{693615FE-1FE4-4CBB-8BAD-203705657481}" srcOrd="20" destOrd="0" presId="urn:microsoft.com/office/officeart/2008/layout/LinedList"/>
    <dgm:cxn modelId="{E69C4910-221E-412F-9D41-0A22DA9D1543}" type="presParOf" srcId="{31BCD210-338C-448F-BBA4-5CB0E93FAB76}" destId="{67092582-4A29-43FA-954F-B338651AC4DE}" srcOrd="21" destOrd="0" presId="urn:microsoft.com/office/officeart/2008/layout/LinedList"/>
    <dgm:cxn modelId="{06E60850-A9DB-415E-BDD9-31C166F3B669}" type="presParOf" srcId="{31BCD210-338C-448F-BBA4-5CB0E93FAB76}" destId="{B487484B-ABD3-424A-8707-1C5F01680B11}" srcOrd="22" destOrd="0" presId="urn:microsoft.com/office/officeart/2008/layout/LinedList"/>
    <dgm:cxn modelId="{0104D935-A924-4590-90E6-0C3733BB03F6}" type="presParOf" srcId="{B487484B-ABD3-424A-8707-1C5F01680B11}" destId="{DF23F979-C31D-4512-881C-5D28812F6AA4}" srcOrd="0" destOrd="0" presId="urn:microsoft.com/office/officeart/2008/layout/LinedList"/>
    <dgm:cxn modelId="{19BDCDBB-0FA7-4111-8567-4C3F2A1BBF83}" type="presParOf" srcId="{B487484B-ABD3-424A-8707-1C5F01680B11}" destId="{08B1B8DE-E871-497A-9690-037009F5F175}" srcOrd="1" destOrd="0" presId="urn:microsoft.com/office/officeart/2008/layout/LinedList"/>
    <dgm:cxn modelId="{E03B034E-5FC1-4BDD-974F-5F2D9729AC86}" type="presParOf" srcId="{B487484B-ABD3-424A-8707-1C5F01680B11}" destId="{1C703C25-1315-4D9A-9FC1-2CFDBC7E5702}" srcOrd="2" destOrd="0" presId="urn:microsoft.com/office/officeart/2008/layout/LinedList"/>
    <dgm:cxn modelId="{E61D0465-772C-4252-8473-74B7C8A9E9E1}" type="presParOf" srcId="{31BCD210-338C-448F-BBA4-5CB0E93FAB76}" destId="{5C30380A-8D7B-4250-8217-2CE2C540B2BD}" srcOrd="23" destOrd="0" presId="urn:microsoft.com/office/officeart/2008/layout/LinedList"/>
    <dgm:cxn modelId="{FE5E77BF-C758-48F8-919B-B3E27E7D05F8}" type="presParOf" srcId="{31BCD210-338C-448F-BBA4-5CB0E93FAB76}" destId="{A10400E7-0D93-46F1-ADCE-511B0E9D96E3}" srcOrd="24" destOrd="0" presId="urn:microsoft.com/office/officeart/2008/layout/LinedList"/>
    <dgm:cxn modelId="{204F37EC-3B40-49C4-AC1D-B5A99FB27920}" type="presParOf" srcId="{31BCD210-338C-448F-BBA4-5CB0E93FAB76}" destId="{80DE269E-2F61-4876-A887-80869022EE9A}" srcOrd="25" destOrd="0" presId="urn:microsoft.com/office/officeart/2008/layout/LinedList"/>
    <dgm:cxn modelId="{6F9550FC-888D-4037-8F4B-40CE02E2C524}" type="presParOf" srcId="{80DE269E-2F61-4876-A887-80869022EE9A}" destId="{981F93BD-B940-407C-A715-12B988DE8616}" srcOrd="0" destOrd="0" presId="urn:microsoft.com/office/officeart/2008/layout/LinedList"/>
    <dgm:cxn modelId="{6F6CA856-DA68-4F9C-9AAF-546008A26505}" type="presParOf" srcId="{80DE269E-2F61-4876-A887-80869022EE9A}" destId="{1B5D6913-E199-4039-A20B-CA5F4755B9ED}" srcOrd="1" destOrd="0" presId="urn:microsoft.com/office/officeart/2008/layout/LinedList"/>
    <dgm:cxn modelId="{4DEEFE6F-F48C-4724-A3B0-AB367FC5122D}" type="presParOf" srcId="{80DE269E-2F61-4876-A887-80869022EE9A}" destId="{B93415AB-1E23-40DA-B49F-2E243F582BA5}" srcOrd="2" destOrd="0" presId="urn:microsoft.com/office/officeart/2008/layout/LinedList"/>
    <dgm:cxn modelId="{E76BBCBA-04FD-40F8-9FB2-7042D84E418C}" type="presParOf" srcId="{31BCD210-338C-448F-BBA4-5CB0E93FAB76}" destId="{4D870915-B8B4-4591-B866-F361B34BB9C0}" srcOrd="26" destOrd="0" presId="urn:microsoft.com/office/officeart/2008/layout/LinedList"/>
    <dgm:cxn modelId="{DE0C6B34-A23A-45F9-9755-26E4F15A609D}" type="presParOf" srcId="{31BCD210-338C-448F-BBA4-5CB0E93FAB76}" destId="{BA64682E-D91F-4B7B-A15E-DA1C8120648B}" srcOrd="27" destOrd="0" presId="urn:microsoft.com/office/officeart/2008/layout/LinedList"/>
    <dgm:cxn modelId="{1DCDDD88-3D52-4539-9B15-038F5446FD83}" type="presParOf" srcId="{31BCD210-338C-448F-BBA4-5CB0E93FAB76}" destId="{A1F8282D-98DA-4A03-BD85-77FB907A49EC}" srcOrd="28" destOrd="0" presId="urn:microsoft.com/office/officeart/2008/layout/LinedList"/>
    <dgm:cxn modelId="{54E319CB-D771-4DBD-9772-239F673B6A72}" type="presParOf" srcId="{A1F8282D-98DA-4A03-BD85-77FB907A49EC}" destId="{B38B9349-D8FB-4A08-8E32-2D9C5697B792}" srcOrd="0" destOrd="0" presId="urn:microsoft.com/office/officeart/2008/layout/LinedList"/>
    <dgm:cxn modelId="{C556E543-5622-409D-8318-91F3A8DD6EDA}" type="presParOf" srcId="{A1F8282D-98DA-4A03-BD85-77FB907A49EC}" destId="{35583A45-9A6D-4A10-A2A6-A8E7EC7172E5}" srcOrd="1" destOrd="0" presId="urn:microsoft.com/office/officeart/2008/layout/LinedList"/>
    <dgm:cxn modelId="{54D82000-90EC-4DFD-ADC5-C04C38AA45EB}" type="presParOf" srcId="{A1F8282D-98DA-4A03-BD85-77FB907A49EC}" destId="{480399E8-BEFE-4CAB-AD93-D07260293A02}" srcOrd="2" destOrd="0" presId="urn:microsoft.com/office/officeart/2008/layout/LinedList"/>
    <dgm:cxn modelId="{55D2C8E4-95D8-44CB-914B-9322E7764594}" type="presParOf" srcId="{31BCD210-338C-448F-BBA4-5CB0E93FAB76}" destId="{AC7BB51E-06C6-4833-81A5-41B0038DA01C}" srcOrd="29" destOrd="0" presId="urn:microsoft.com/office/officeart/2008/layout/LinedList"/>
    <dgm:cxn modelId="{E9EFCB25-A0F9-4309-9ABC-5AD260D9A20B}" type="presParOf" srcId="{31BCD210-338C-448F-BBA4-5CB0E93FAB76}" destId="{B22088F7-0255-433F-8811-6E7C095A471A}" srcOrd="30" destOrd="0" presId="urn:microsoft.com/office/officeart/2008/layout/LinedList"/>
    <dgm:cxn modelId="{4AEA5F2C-9251-4FF5-995F-FE81357EA734}" type="presParOf" srcId="{31BCD210-338C-448F-BBA4-5CB0E93FAB76}" destId="{0361A772-926B-489F-A996-C9609154420F}" srcOrd="31" destOrd="0" presId="urn:microsoft.com/office/officeart/2008/layout/LinedList"/>
    <dgm:cxn modelId="{B5C25270-7112-485D-9BF0-C7F2C717C452}" type="presParOf" srcId="{0361A772-926B-489F-A996-C9609154420F}" destId="{F0AE170B-AEB0-44E0-AF77-4D707B1D9D10}" srcOrd="0" destOrd="0" presId="urn:microsoft.com/office/officeart/2008/layout/LinedList"/>
    <dgm:cxn modelId="{D6CB4BD9-20D2-4253-912D-838B678BF9C9}" type="presParOf" srcId="{0361A772-926B-489F-A996-C9609154420F}" destId="{C86F2C1B-2D3B-4879-AE9F-213C70FCB66F}" srcOrd="1" destOrd="0" presId="urn:microsoft.com/office/officeart/2008/layout/LinedList"/>
    <dgm:cxn modelId="{6A8613BA-B789-49BA-843E-CC60B9D75343}" type="presParOf" srcId="{0361A772-926B-489F-A996-C9609154420F}" destId="{BB6C5347-235B-424A-ACC2-4474601A9FF9}" srcOrd="2" destOrd="0" presId="urn:microsoft.com/office/officeart/2008/layout/LinedList"/>
    <dgm:cxn modelId="{881BE8A1-F994-4981-B9CE-43C6DDB68B0E}" type="presParOf" srcId="{31BCD210-338C-448F-BBA4-5CB0E93FAB76}" destId="{E3DDFE8F-7B87-4A81-B86A-A773EED95464}" srcOrd="32" destOrd="0" presId="urn:microsoft.com/office/officeart/2008/layout/LinedList"/>
    <dgm:cxn modelId="{1AA3E503-5315-450C-9EC0-ADE7E08FDF31}" type="presParOf" srcId="{31BCD210-338C-448F-BBA4-5CB0E93FAB76}" destId="{32911EC1-6098-4A89-87F3-456466E0338C}" srcOrd="33" destOrd="0" presId="urn:microsoft.com/office/officeart/2008/layout/LinedList"/>
    <dgm:cxn modelId="{C9BEBDFA-1BB1-49D6-97C3-3C1FC972F901}" type="presParOf" srcId="{31BCD210-338C-448F-BBA4-5CB0E93FAB76}" destId="{D9E5B1CA-A00E-4DA7-9F4B-1A03262B9A5B}" srcOrd="34" destOrd="0" presId="urn:microsoft.com/office/officeart/2008/layout/LinedList"/>
    <dgm:cxn modelId="{EDE86C42-5E78-47FF-BF99-3257464A6800}" type="presParOf" srcId="{D9E5B1CA-A00E-4DA7-9F4B-1A03262B9A5B}" destId="{7DCB0F95-454B-405A-842A-E00B8DF2A6EC}" srcOrd="0" destOrd="0" presId="urn:microsoft.com/office/officeart/2008/layout/LinedList"/>
    <dgm:cxn modelId="{DEEF5285-03DD-440D-9F5E-1E4B315EE483}" type="presParOf" srcId="{D9E5B1CA-A00E-4DA7-9F4B-1A03262B9A5B}" destId="{0E4E4016-7E8C-408B-A686-A8E1BCD4506D}" srcOrd="1" destOrd="0" presId="urn:microsoft.com/office/officeart/2008/layout/LinedList"/>
    <dgm:cxn modelId="{B81A657B-3BF0-4F83-BF3A-C8D2EE37B264}" type="presParOf" srcId="{D9E5B1CA-A00E-4DA7-9F4B-1A03262B9A5B}" destId="{8E19583A-440A-4D6E-A8A2-41FD21E8485D}" srcOrd="2" destOrd="0" presId="urn:microsoft.com/office/officeart/2008/layout/LinedList"/>
    <dgm:cxn modelId="{8101EAE8-3155-490A-BF74-6FB9CD65A2EE}" type="presParOf" srcId="{31BCD210-338C-448F-BBA4-5CB0E93FAB76}" destId="{45EE0D7F-6306-4B79-BAF5-563F5CBC8B64}" srcOrd="35" destOrd="0" presId="urn:microsoft.com/office/officeart/2008/layout/LinedList"/>
    <dgm:cxn modelId="{ED5BEFEF-3416-4AFF-8581-CB9AF6425A9E}" type="presParOf" srcId="{31BCD210-338C-448F-BBA4-5CB0E93FAB76}" destId="{04654A8D-5C8E-4512-B571-E897F90DA7E0}" srcOrd="36" destOrd="0" presId="urn:microsoft.com/office/officeart/2008/layout/LinedList"/>
    <dgm:cxn modelId="{3E8AE3D7-EEE2-4CD2-99C7-420DA7F7E498}" type="presParOf" srcId="{31BCD210-338C-448F-BBA4-5CB0E93FAB76}" destId="{8437384F-0A5F-446B-9021-A85A33249FB8}" srcOrd="37" destOrd="0" presId="urn:microsoft.com/office/officeart/2008/layout/LinedList"/>
    <dgm:cxn modelId="{B5BCA2F2-D069-4EFF-A2A7-93F1776AE360}" type="presParOf" srcId="{8437384F-0A5F-446B-9021-A85A33249FB8}" destId="{5EF1AFDA-2430-46B0-B4ED-905D500A3663}" srcOrd="0" destOrd="0" presId="urn:microsoft.com/office/officeart/2008/layout/LinedList"/>
    <dgm:cxn modelId="{22357B46-FC47-4316-A5D4-63DBA41A096B}" type="presParOf" srcId="{8437384F-0A5F-446B-9021-A85A33249FB8}" destId="{B42C7542-EC28-4D81-8500-63D2F65BF284}" srcOrd="1" destOrd="0" presId="urn:microsoft.com/office/officeart/2008/layout/LinedList"/>
    <dgm:cxn modelId="{06738BB9-2D60-4FC2-87F7-60BF60B55118}" type="presParOf" srcId="{8437384F-0A5F-446B-9021-A85A33249FB8}" destId="{0AFB59DC-A2F1-40B8-9F04-0D5AAA1DB7F2}" srcOrd="2" destOrd="0" presId="urn:microsoft.com/office/officeart/2008/layout/LinedList"/>
    <dgm:cxn modelId="{185BD9DF-F1E5-492B-9199-8017CBFBF15F}" type="presParOf" srcId="{31BCD210-338C-448F-BBA4-5CB0E93FAB76}" destId="{8D22B8BA-B4A0-4183-B08F-28001A2B6636}" srcOrd="38" destOrd="0" presId="urn:microsoft.com/office/officeart/2008/layout/LinedList"/>
    <dgm:cxn modelId="{44ADBAE9-FF85-4078-AAB1-365E0A845269}" type="presParOf" srcId="{31BCD210-338C-448F-BBA4-5CB0E93FAB76}" destId="{6F242872-5467-4C65-AE61-D64FF48A5707}" srcOrd="39" destOrd="0" presId="urn:microsoft.com/office/officeart/2008/layout/LinedList"/>
    <dgm:cxn modelId="{B0905D7B-53C7-4AA3-A72A-6E74DD27A973}" type="presParOf" srcId="{31BCD210-338C-448F-BBA4-5CB0E93FAB76}" destId="{CB7E1EB3-28FB-414B-9864-0B86E1B69C23}" srcOrd="40" destOrd="0" presId="urn:microsoft.com/office/officeart/2008/layout/LinedList"/>
    <dgm:cxn modelId="{EA6E1384-20AB-4F4F-90D5-AE9808DD539D}" type="presParOf" srcId="{CB7E1EB3-28FB-414B-9864-0B86E1B69C23}" destId="{5A9188A4-2A62-4B47-A740-7663528D6FE7}" srcOrd="0" destOrd="0" presId="urn:microsoft.com/office/officeart/2008/layout/LinedList"/>
    <dgm:cxn modelId="{5715232F-3308-49C8-9935-1806B372807F}" type="presParOf" srcId="{CB7E1EB3-28FB-414B-9864-0B86E1B69C23}" destId="{DB64D356-55DD-4D54-8146-C37FFE150EEA}" srcOrd="1" destOrd="0" presId="urn:microsoft.com/office/officeart/2008/layout/LinedList"/>
    <dgm:cxn modelId="{06345892-A8FB-4086-8B17-C168F8091319}" type="presParOf" srcId="{CB7E1EB3-28FB-414B-9864-0B86E1B69C23}" destId="{C93EF402-E55E-48CA-9305-993459FADA69}" srcOrd="2" destOrd="0" presId="urn:microsoft.com/office/officeart/2008/layout/LinedList"/>
    <dgm:cxn modelId="{01DCF1B8-895B-466C-9B6B-9A7A7234FFC2}" type="presParOf" srcId="{31BCD210-338C-448F-BBA4-5CB0E93FAB76}" destId="{0188A1DD-8A12-4846-825B-A9BD80E610E9}" srcOrd="41" destOrd="0" presId="urn:microsoft.com/office/officeart/2008/layout/LinedList"/>
    <dgm:cxn modelId="{D5DCF68F-FE64-467C-AE02-4973CEF10029}" type="presParOf" srcId="{31BCD210-338C-448F-BBA4-5CB0E93FAB76}" destId="{FF08BA36-B119-4499-BEF6-AF84A0A5824B}" srcOrd="42" destOrd="0" presId="urn:microsoft.com/office/officeart/2008/layout/LinedList"/>
    <dgm:cxn modelId="{9000D2BD-9ACB-4E0C-9378-D91D3FDD90A5}" type="presParOf" srcId="{31BCD210-338C-448F-BBA4-5CB0E93FAB76}" destId="{AC0238CA-68E6-458A-BE52-08129F6BDC69}" srcOrd="43" destOrd="0" presId="urn:microsoft.com/office/officeart/2008/layout/LinedList"/>
    <dgm:cxn modelId="{F77B9502-20ED-4A56-BD38-7733EED6F6EB}" type="presParOf" srcId="{AC0238CA-68E6-458A-BE52-08129F6BDC69}" destId="{251B40F5-7C08-4986-B4C2-C2F54A128E2B}" srcOrd="0" destOrd="0" presId="urn:microsoft.com/office/officeart/2008/layout/LinedList"/>
    <dgm:cxn modelId="{B052D8C4-C53C-4B66-B7A2-0C27FCCFF0B9}" type="presParOf" srcId="{AC0238CA-68E6-458A-BE52-08129F6BDC69}" destId="{65E09B91-D9B3-4395-B3DA-2F44B903E33D}" srcOrd="1" destOrd="0" presId="urn:microsoft.com/office/officeart/2008/layout/LinedList"/>
    <dgm:cxn modelId="{DCCBC2DE-54A1-45D0-8716-FB948150AE56}" type="presParOf" srcId="{AC0238CA-68E6-458A-BE52-08129F6BDC69}" destId="{64FE0328-7ECE-4A41-81FD-92BA09EE0944}" srcOrd="2" destOrd="0" presId="urn:microsoft.com/office/officeart/2008/layout/LinedList"/>
    <dgm:cxn modelId="{4C042B9A-AEB0-4E72-92DF-0B26C9EC1C11}" type="presParOf" srcId="{31BCD210-338C-448F-BBA4-5CB0E93FAB76}" destId="{CECF0841-54CE-4DFB-95E8-C87BA9CBD1EB}" srcOrd="44" destOrd="0" presId="urn:microsoft.com/office/officeart/2008/layout/LinedList"/>
    <dgm:cxn modelId="{07D5872A-C28B-4B79-86EC-756EF5636CCC}" type="presParOf" srcId="{31BCD210-338C-448F-BBA4-5CB0E93FAB76}" destId="{9EFC3F19-E639-423B-92DB-1EB36788E551}" srcOrd="45" destOrd="0" presId="urn:microsoft.com/office/officeart/2008/layout/LinedList"/>
    <dgm:cxn modelId="{66EB6931-A5C3-42DB-A15D-DF5AA356D87D}" type="presParOf" srcId="{31BCD210-338C-448F-BBA4-5CB0E93FAB76}" destId="{8AD04E3A-F569-4DC0-A756-5EA2DE565310}" srcOrd="46" destOrd="0" presId="urn:microsoft.com/office/officeart/2008/layout/LinedList"/>
    <dgm:cxn modelId="{23475707-F513-454E-A4AB-9D33AEAA6776}" type="presParOf" srcId="{8AD04E3A-F569-4DC0-A756-5EA2DE565310}" destId="{6E3FCD69-3B7E-42C3-A1FD-DBECCEBB1C6E}" srcOrd="0" destOrd="0" presId="urn:microsoft.com/office/officeart/2008/layout/LinedList"/>
    <dgm:cxn modelId="{F42240F0-9428-44FB-B9BF-71756DBA9797}" type="presParOf" srcId="{8AD04E3A-F569-4DC0-A756-5EA2DE565310}" destId="{2D35330D-E0B5-4D0E-8A8B-25B4E6666D46}" srcOrd="1" destOrd="0" presId="urn:microsoft.com/office/officeart/2008/layout/LinedList"/>
    <dgm:cxn modelId="{1D4AAE6C-238C-488A-9D31-F54BF590D7FF}" type="presParOf" srcId="{8AD04E3A-F569-4DC0-A756-5EA2DE565310}" destId="{FD9E9281-2B4E-4A69-B276-9BDAA7B57C1C}" srcOrd="2" destOrd="0" presId="urn:microsoft.com/office/officeart/2008/layout/LinedList"/>
    <dgm:cxn modelId="{1FF52B98-1B68-4791-AC4B-4BE3D9150B19}" type="presParOf" srcId="{31BCD210-338C-448F-BBA4-5CB0E93FAB76}" destId="{E34AA8E0-28F4-4AD9-A916-75294B6038A1}" srcOrd="47" destOrd="0" presId="urn:microsoft.com/office/officeart/2008/layout/LinedList"/>
    <dgm:cxn modelId="{CC980DF4-E130-4BC5-8829-C4938845069C}" type="presParOf" srcId="{31BCD210-338C-448F-BBA4-5CB0E93FAB76}" destId="{FA6F3BD3-B07D-4554-BF0C-35BAA818B0C8}" srcOrd="48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E901FF8-BBAF-4AFA-B2A8-32B38AFCBAFE}" type="doc">
      <dgm:prSet loTypeId="urn:microsoft.com/office/officeart/2008/layout/LinedList" loCatId="list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en-US"/>
        </a:p>
      </dgm:t>
    </dgm:pt>
    <dgm:pt modelId="{3591D07A-D824-4519-B860-1993164DF9FD}">
      <dgm:prSet phldrT="[Text]" custT="1"/>
      <dgm:spPr/>
      <dgm:t>
        <a:bodyPr/>
        <a:lstStyle/>
        <a:p>
          <a:r>
            <a:rPr lang="en-US" sz="1200" dirty="0">
              <a:solidFill>
                <a:schemeClr val="tx2"/>
              </a:solidFill>
            </a:rPr>
            <a:t>Data Types Supported</a:t>
          </a:r>
        </a:p>
      </dgm:t>
    </dgm:pt>
    <dgm:pt modelId="{C9F516F4-2446-4927-AF2B-12B625353D62}" type="parTrans" cxnId="{0057E69E-9140-45C3-AB0C-064E71A5934C}">
      <dgm:prSet/>
      <dgm:spPr/>
      <dgm:t>
        <a:bodyPr/>
        <a:lstStyle/>
        <a:p>
          <a:endParaRPr lang="en-US"/>
        </a:p>
      </dgm:t>
    </dgm:pt>
    <dgm:pt modelId="{DAFCEB3B-F022-4C90-B99C-222CAF5FD197}" type="sibTrans" cxnId="{0057E69E-9140-45C3-AB0C-064E71A5934C}">
      <dgm:prSet/>
      <dgm:spPr/>
      <dgm:t>
        <a:bodyPr/>
        <a:lstStyle/>
        <a:p>
          <a:endParaRPr lang="en-US"/>
        </a:p>
      </dgm:t>
    </dgm:pt>
    <dgm:pt modelId="{70561FBF-3944-43E0-A0B0-9A9BA87045F7}">
      <dgm:prSet phldrT="[Text]" custT="1"/>
      <dgm:spPr/>
      <dgm:t>
        <a:bodyPr/>
        <a:lstStyle/>
        <a:p>
          <a:r>
            <a:rPr lang="en-US" sz="1600" dirty="0">
              <a:solidFill>
                <a:schemeClr val="tx2"/>
              </a:solidFill>
            </a:rPr>
            <a:t>Boolean</a:t>
          </a:r>
        </a:p>
      </dgm:t>
    </dgm:pt>
    <dgm:pt modelId="{21C3F7E5-13D0-49E4-A271-DB287BF43E37}" type="parTrans" cxnId="{988F6A7E-58B5-46C1-9BB5-C01DA9F22F37}">
      <dgm:prSet/>
      <dgm:spPr/>
      <dgm:t>
        <a:bodyPr/>
        <a:lstStyle/>
        <a:p>
          <a:endParaRPr lang="en-US"/>
        </a:p>
      </dgm:t>
    </dgm:pt>
    <dgm:pt modelId="{5378406E-F6DB-4AB7-AB8E-D1C73A07C5D4}" type="sibTrans" cxnId="{988F6A7E-58B5-46C1-9BB5-C01DA9F22F37}">
      <dgm:prSet/>
      <dgm:spPr/>
      <dgm:t>
        <a:bodyPr/>
        <a:lstStyle/>
        <a:p>
          <a:endParaRPr lang="en-US"/>
        </a:p>
      </dgm:t>
    </dgm:pt>
    <dgm:pt modelId="{1170F71F-A361-4BB3-B82F-7CA44FB94FCA}">
      <dgm:prSet phldrT="[Text]" custT="1"/>
      <dgm:spPr/>
      <dgm:t>
        <a:bodyPr/>
        <a:lstStyle/>
        <a:p>
          <a:r>
            <a:rPr lang="en-US" sz="1600" dirty="0">
              <a:solidFill>
                <a:schemeClr val="tx2"/>
              </a:solidFill>
            </a:rPr>
            <a:t>Integer</a:t>
          </a:r>
        </a:p>
      </dgm:t>
    </dgm:pt>
    <dgm:pt modelId="{7C8A726E-177C-4D74-8615-DB7E0C028D7D}" type="parTrans" cxnId="{DA9F9C03-D721-4923-90A1-6542F8EFE3CD}">
      <dgm:prSet/>
      <dgm:spPr/>
      <dgm:t>
        <a:bodyPr/>
        <a:lstStyle/>
        <a:p>
          <a:endParaRPr lang="en-US"/>
        </a:p>
      </dgm:t>
    </dgm:pt>
    <dgm:pt modelId="{9D7531FA-DE5C-4F53-83FF-647CC27E4B8F}" type="sibTrans" cxnId="{DA9F9C03-D721-4923-90A1-6542F8EFE3CD}">
      <dgm:prSet/>
      <dgm:spPr/>
      <dgm:t>
        <a:bodyPr/>
        <a:lstStyle/>
        <a:p>
          <a:endParaRPr lang="en-US"/>
        </a:p>
      </dgm:t>
    </dgm:pt>
    <dgm:pt modelId="{CCE02ACB-B8FF-443D-98CC-901DBB19C3DE}">
      <dgm:prSet phldrT="[Text]" custT="1"/>
      <dgm:spPr/>
      <dgm:t>
        <a:bodyPr/>
        <a:lstStyle/>
        <a:p>
          <a:r>
            <a:rPr lang="en-US" sz="1600" dirty="0">
              <a:solidFill>
                <a:schemeClr val="tx2"/>
              </a:solidFill>
            </a:rPr>
            <a:t>Long</a:t>
          </a:r>
        </a:p>
      </dgm:t>
    </dgm:pt>
    <dgm:pt modelId="{A2FADE22-5189-4383-931F-216E4BD3FDCB}" type="parTrans" cxnId="{F1B458DD-4A9C-4186-BD3E-D987D3972F0B}">
      <dgm:prSet/>
      <dgm:spPr/>
      <dgm:t>
        <a:bodyPr/>
        <a:lstStyle/>
        <a:p>
          <a:endParaRPr lang="en-US"/>
        </a:p>
      </dgm:t>
    </dgm:pt>
    <dgm:pt modelId="{96B2FF3D-2F1B-42ED-923D-6DADAD1E00F7}" type="sibTrans" cxnId="{F1B458DD-4A9C-4186-BD3E-D987D3972F0B}">
      <dgm:prSet/>
      <dgm:spPr/>
      <dgm:t>
        <a:bodyPr/>
        <a:lstStyle/>
        <a:p>
          <a:endParaRPr lang="en-US"/>
        </a:p>
      </dgm:t>
    </dgm:pt>
    <dgm:pt modelId="{1295AEC3-460A-4F55-B05C-D74E03BD4D4A}">
      <dgm:prSet phldrT="[Text]" custT="1"/>
      <dgm:spPr/>
      <dgm:t>
        <a:bodyPr/>
        <a:lstStyle/>
        <a:p>
          <a:r>
            <a:rPr lang="en-US" sz="1600" dirty="0">
              <a:solidFill>
                <a:schemeClr val="tx2"/>
              </a:solidFill>
            </a:rPr>
            <a:t>Float</a:t>
          </a:r>
        </a:p>
      </dgm:t>
    </dgm:pt>
    <dgm:pt modelId="{4879C8C3-D7A0-4721-9D4A-395F05F70656}" type="parTrans" cxnId="{52A99C22-95A8-4DDC-B86D-95E594F470D9}">
      <dgm:prSet/>
      <dgm:spPr/>
      <dgm:t>
        <a:bodyPr/>
        <a:lstStyle/>
        <a:p>
          <a:endParaRPr lang="en-US"/>
        </a:p>
      </dgm:t>
    </dgm:pt>
    <dgm:pt modelId="{1CA3FFDF-AB28-4508-8619-F8F11F73BF84}" type="sibTrans" cxnId="{52A99C22-95A8-4DDC-B86D-95E594F470D9}">
      <dgm:prSet/>
      <dgm:spPr/>
      <dgm:t>
        <a:bodyPr/>
        <a:lstStyle/>
        <a:p>
          <a:endParaRPr lang="en-US"/>
        </a:p>
      </dgm:t>
    </dgm:pt>
    <dgm:pt modelId="{2EF32E95-78E1-4455-A301-B7A884A9CA01}" type="pres">
      <dgm:prSet presAssocID="{BE901FF8-BBAF-4AFA-B2A8-32B38AFCBAFE}" presName="vert0" presStyleCnt="0">
        <dgm:presLayoutVars>
          <dgm:dir/>
          <dgm:animOne val="branch"/>
          <dgm:animLvl val="lvl"/>
        </dgm:presLayoutVars>
      </dgm:prSet>
      <dgm:spPr/>
    </dgm:pt>
    <dgm:pt modelId="{C4C13ED3-D3A0-4315-9D5D-85BABA27B016}" type="pres">
      <dgm:prSet presAssocID="{3591D07A-D824-4519-B860-1993164DF9FD}" presName="thickLine" presStyleLbl="alignNode1" presStyleIdx="0" presStyleCnt="1"/>
      <dgm:spPr/>
    </dgm:pt>
    <dgm:pt modelId="{3E331361-FBB8-4064-BD56-1C16DE00E9D4}" type="pres">
      <dgm:prSet presAssocID="{3591D07A-D824-4519-B860-1993164DF9FD}" presName="horz1" presStyleCnt="0"/>
      <dgm:spPr/>
    </dgm:pt>
    <dgm:pt modelId="{1EA71D56-85DF-4D54-9B21-A3D3F455259B}" type="pres">
      <dgm:prSet presAssocID="{3591D07A-D824-4519-B860-1993164DF9FD}" presName="tx1" presStyleLbl="revTx" presStyleIdx="0" presStyleCnt="5" custScaleX="389902"/>
      <dgm:spPr/>
    </dgm:pt>
    <dgm:pt modelId="{81581667-0701-47F0-847E-EE4DD183EAB0}" type="pres">
      <dgm:prSet presAssocID="{3591D07A-D824-4519-B860-1993164DF9FD}" presName="vert1" presStyleCnt="0"/>
      <dgm:spPr/>
    </dgm:pt>
    <dgm:pt modelId="{F903D8B1-69F0-428F-84EB-6B5A816B651A}" type="pres">
      <dgm:prSet presAssocID="{70561FBF-3944-43E0-A0B0-9A9BA87045F7}" presName="vertSpace2a" presStyleCnt="0"/>
      <dgm:spPr/>
    </dgm:pt>
    <dgm:pt modelId="{CB207C62-72D1-451E-8386-D8D564CA17AE}" type="pres">
      <dgm:prSet presAssocID="{70561FBF-3944-43E0-A0B0-9A9BA87045F7}" presName="horz2" presStyleCnt="0"/>
      <dgm:spPr/>
    </dgm:pt>
    <dgm:pt modelId="{BF3829F1-CF72-409F-A77E-0040B4F43822}" type="pres">
      <dgm:prSet presAssocID="{70561FBF-3944-43E0-A0B0-9A9BA87045F7}" presName="horzSpace2" presStyleCnt="0"/>
      <dgm:spPr/>
    </dgm:pt>
    <dgm:pt modelId="{F74AB7C3-C0CE-42A8-ADCD-E354E108D765}" type="pres">
      <dgm:prSet presAssocID="{70561FBF-3944-43E0-A0B0-9A9BA87045F7}" presName="tx2" presStyleLbl="revTx" presStyleIdx="1" presStyleCnt="5"/>
      <dgm:spPr>
        <a:prstGeom prst="borderCallout2">
          <a:avLst/>
        </a:prstGeom>
      </dgm:spPr>
    </dgm:pt>
    <dgm:pt modelId="{673ECEB4-DF66-471E-B8AB-AD62507899D6}" type="pres">
      <dgm:prSet presAssocID="{70561FBF-3944-43E0-A0B0-9A9BA87045F7}" presName="vert2" presStyleCnt="0"/>
      <dgm:spPr/>
    </dgm:pt>
    <dgm:pt modelId="{169FBE19-E715-439E-AEA0-F69EAD6D0374}" type="pres">
      <dgm:prSet presAssocID="{70561FBF-3944-43E0-A0B0-9A9BA87045F7}" presName="thinLine2b" presStyleLbl="callout" presStyleIdx="0" presStyleCnt="4"/>
      <dgm:spPr/>
    </dgm:pt>
    <dgm:pt modelId="{2D8BFC06-7D80-4FC8-B7B1-BF8FFF53707E}" type="pres">
      <dgm:prSet presAssocID="{70561FBF-3944-43E0-A0B0-9A9BA87045F7}" presName="vertSpace2b" presStyleCnt="0"/>
      <dgm:spPr/>
    </dgm:pt>
    <dgm:pt modelId="{A96CE797-A639-4F1E-928C-481D53B7AE3F}" type="pres">
      <dgm:prSet presAssocID="{1170F71F-A361-4BB3-B82F-7CA44FB94FCA}" presName="horz2" presStyleCnt="0"/>
      <dgm:spPr/>
    </dgm:pt>
    <dgm:pt modelId="{E9323B10-6D09-4269-A201-655FFA573980}" type="pres">
      <dgm:prSet presAssocID="{1170F71F-A361-4BB3-B82F-7CA44FB94FCA}" presName="horzSpace2" presStyleCnt="0"/>
      <dgm:spPr/>
    </dgm:pt>
    <dgm:pt modelId="{4A98FA18-6FD4-4F43-8879-7E667836F0B2}" type="pres">
      <dgm:prSet presAssocID="{1170F71F-A361-4BB3-B82F-7CA44FB94FCA}" presName="tx2" presStyleLbl="revTx" presStyleIdx="2" presStyleCnt="5"/>
      <dgm:spPr/>
    </dgm:pt>
    <dgm:pt modelId="{06BFCF40-0714-4EF7-93B7-0079E195E258}" type="pres">
      <dgm:prSet presAssocID="{1170F71F-A361-4BB3-B82F-7CA44FB94FCA}" presName="vert2" presStyleCnt="0"/>
      <dgm:spPr/>
    </dgm:pt>
    <dgm:pt modelId="{18BC2190-48FF-48B9-9C3F-5331CFE4C0E1}" type="pres">
      <dgm:prSet presAssocID="{1170F71F-A361-4BB3-B82F-7CA44FB94FCA}" presName="thinLine2b" presStyleLbl="callout" presStyleIdx="1" presStyleCnt="4"/>
      <dgm:spPr/>
    </dgm:pt>
    <dgm:pt modelId="{8FD45DEC-721B-4C9B-A5DC-6DA847227029}" type="pres">
      <dgm:prSet presAssocID="{1170F71F-A361-4BB3-B82F-7CA44FB94FCA}" presName="vertSpace2b" presStyleCnt="0"/>
      <dgm:spPr/>
    </dgm:pt>
    <dgm:pt modelId="{E5D55C69-18FF-4006-85FC-E96CA286270D}" type="pres">
      <dgm:prSet presAssocID="{1295AEC3-460A-4F55-B05C-D74E03BD4D4A}" presName="horz2" presStyleCnt="0"/>
      <dgm:spPr/>
    </dgm:pt>
    <dgm:pt modelId="{C71DDA7A-95DE-43D3-AFDD-51142F31C09F}" type="pres">
      <dgm:prSet presAssocID="{1295AEC3-460A-4F55-B05C-D74E03BD4D4A}" presName="horzSpace2" presStyleCnt="0"/>
      <dgm:spPr/>
    </dgm:pt>
    <dgm:pt modelId="{78ED0FCB-A21F-4819-891A-27814A2F2B73}" type="pres">
      <dgm:prSet presAssocID="{1295AEC3-460A-4F55-B05C-D74E03BD4D4A}" presName="tx2" presStyleLbl="revTx" presStyleIdx="3" presStyleCnt="5"/>
      <dgm:spPr/>
    </dgm:pt>
    <dgm:pt modelId="{6F5BC1ED-1BF1-4BCA-9A50-E3901C9BEACE}" type="pres">
      <dgm:prSet presAssocID="{1295AEC3-460A-4F55-B05C-D74E03BD4D4A}" presName="vert2" presStyleCnt="0"/>
      <dgm:spPr/>
    </dgm:pt>
    <dgm:pt modelId="{F0EBC1F2-5A41-4D12-9455-7A5C54330513}" type="pres">
      <dgm:prSet presAssocID="{1295AEC3-460A-4F55-B05C-D74E03BD4D4A}" presName="thinLine2b" presStyleLbl="callout" presStyleIdx="2" presStyleCnt="4"/>
      <dgm:spPr/>
    </dgm:pt>
    <dgm:pt modelId="{94DC5FAF-BD5F-4940-BBC0-71C9B9E22E23}" type="pres">
      <dgm:prSet presAssocID="{1295AEC3-460A-4F55-B05C-D74E03BD4D4A}" presName="vertSpace2b" presStyleCnt="0"/>
      <dgm:spPr/>
    </dgm:pt>
    <dgm:pt modelId="{EFD56F45-4774-4B05-9611-1DAE7317A1F2}" type="pres">
      <dgm:prSet presAssocID="{CCE02ACB-B8FF-443D-98CC-901DBB19C3DE}" presName="horz2" presStyleCnt="0"/>
      <dgm:spPr/>
    </dgm:pt>
    <dgm:pt modelId="{E5F60BF8-37CC-4C6C-8744-68781A5AF260}" type="pres">
      <dgm:prSet presAssocID="{CCE02ACB-B8FF-443D-98CC-901DBB19C3DE}" presName="horzSpace2" presStyleCnt="0"/>
      <dgm:spPr/>
    </dgm:pt>
    <dgm:pt modelId="{AAD6F35A-ED80-46BA-A77B-3FB906F59183}" type="pres">
      <dgm:prSet presAssocID="{CCE02ACB-B8FF-443D-98CC-901DBB19C3DE}" presName="tx2" presStyleLbl="revTx" presStyleIdx="4" presStyleCnt="5"/>
      <dgm:spPr/>
    </dgm:pt>
    <dgm:pt modelId="{EFBB13B6-B3FF-4F11-8233-4032D576033A}" type="pres">
      <dgm:prSet presAssocID="{CCE02ACB-B8FF-443D-98CC-901DBB19C3DE}" presName="vert2" presStyleCnt="0"/>
      <dgm:spPr/>
    </dgm:pt>
    <dgm:pt modelId="{449DB954-DAAE-429F-84F9-21EB5265CA96}" type="pres">
      <dgm:prSet presAssocID="{CCE02ACB-B8FF-443D-98CC-901DBB19C3DE}" presName="thinLine2b" presStyleLbl="callout" presStyleIdx="3" presStyleCnt="4"/>
      <dgm:spPr/>
    </dgm:pt>
    <dgm:pt modelId="{9E53F462-51BC-4BD8-B0E4-22D8C9B74FC8}" type="pres">
      <dgm:prSet presAssocID="{CCE02ACB-B8FF-443D-98CC-901DBB19C3DE}" presName="vertSpace2b" presStyleCnt="0"/>
      <dgm:spPr/>
    </dgm:pt>
  </dgm:ptLst>
  <dgm:cxnLst>
    <dgm:cxn modelId="{DA9F9C03-D721-4923-90A1-6542F8EFE3CD}" srcId="{3591D07A-D824-4519-B860-1993164DF9FD}" destId="{1170F71F-A361-4BB3-B82F-7CA44FB94FCA}" srcOrd="1" destOrd="0" parTransId="{7C8A726E-177C-4D74-8615-DB7E0C028D7D}" sibTransId="{9D7531FA-DE5C-4F53-83FF-647CC27E4B8F}"/>
    <dgm:cxn modelId="{86B05C08-0380-44DD-BC19-B566B3F71EAA}" type="presOf" srcId="{CCE02ACB-B8FF-443D-98CC-901DBB19C3DE}" destId="{AAD6F35A-ED80-46BA-A77B-3FB906F59183}" srcOrd="0" destOrd="0" presId="urn:microsoft.com/office/officeart/2008/layout/LinedList"/>
    <dgm:cxn modelId="{52A99C22-95A8-4DDC-B86D-95E594F470D9}" srcId="{3591D07A-D824-4519-B860-1993164DF9FD}" destId="{1295AEC3-460A-4F55-B05C-D74E03BD4D4A}" srcOrd="2" destOrd="0" parTransId="{4879C8C3-D7A0-4721-9D4A-395F05F70656}" sibTransId="{1CA3FFDF-AB28-4508-8619-F8F11F73BF84}"/>
    <dgm:cxn modelId="{4D21BA2D-4870-4013-9FE7-390DDD0D8DB3}" type="presOf" srcId="{BE901FF8-BBAF-4AFA-B2A8-32B38AFCBAFE}" destId="{2EF32E95-78E1-4455-A301-B7A884A9CA01}" srcOrd="0" destOrd="0" presId="urn:microsoft.com/office/officeart/2008/layout/LinedList"/>
    <dgm:cxn modelId="{EDED8156-213F-46B7-9F03-5EB82AB46D5B}" type="presOf" srcId="{70561FBF-3944-43E0-A0B0-9A9BA87045F7}" destId="{F74AB7C3-C0CE-42A8-ADCD-E354E108D765}" srcOrd="0" destOrd="0" presId="urn:microsoft.com/office/officeart/2008/layout/LinedList"/>
    <dgm:cxn modelId="{988F6A7E-58B5-46C1-9BB5-C01DA9F22F37}" srcId="{3591D07A-D824-4519-B860-1993164DF9FD}" destId="{70561FBF-3944-43E0-A0B0-9A9BA87045F7}" srcOrd="0" destOrd="0" parTransId="{21C3F7E5-13D0-49E4-A271-DB287BF43E37}" sibTransId="{5378406E-F6DB-4AB7-AB8E-D1C73A07C5D4}"/>
    <dgm:cxn modelId="{0057E69E-9140-45C3-AB0C-064E71A5934C}" srcId="{BE901FF8-BBAF-4AFA-B2A8-32B38AFCBAFE}" destId="{3591D07A-D824-4519-B860-1993164DF9FD}" srcOrd="0" destOrd="0" parTransId="{C9F516F4-2446-4927-AF2B-12B625353D62}" sibTransId="{DAFCEB3B-F022-4C90-B99C-222CAF5FD197}"/>
    <dgm:cxn modelId="{6DD5B5B7-91BE-4F0C-A0C8-5F78B93D1E6B}" type="presOf" srcId="{3591D07A-D824-4519-B860-1993164DF9FD}" destId="{1EA71D56-85DF-4D54-9B21-A3D3F455259B}" srcOrd="0" destOrd="0" presId="urn:microsoft.com/office/officeart/2008/layout/LinedList"/>
    <dgm:cxn modelId="{DADD8EBD-D38A-4E88-A5DD-5E9ECCD5C842}" type="presOf" srcId="{1295AEC3-460A-4F55-B05C-D74E03BD4D4A}" destId="{78ED0FCB-A21F-4819-891A-27814A2F2B73}" srcOrd="0" destOrd="0" presId="urn:microsoft.com/office/officeart/2008/layout/LinedList"/>
    <dgm:cxn modelId="{F1B458DD-4A9C-4186-BD3E-D987D3972F0B}" srcId="{3591D07A-D824-4519-B860-1993164DF9FD}" destId="{CCE02ACB-B8FF-443D-98CC-901DBB19C3DE}" srcOrd="3" destOrd="0" parTransId="{A2FADE22-5189-4383-931F-216E4BD3FDCB}" sibTransId="{96B2FF3D-2F1B-42ED-923D-6DADAD1E00F7}"/>
    <dgm:cxn modelId="{460469E7-D81E-408F-A7D0-ECAEFA28F21E}" type="presOf" srcId="{1170F71F-A361-4BB3-B82F-7CA44FB94FCA}" destId="{4A98FA18-6FD4-4F43-8879-7E667836F0B2}" srcOrd="0" destOrd="0" presId="urn:microsoft.com/office/officeart/2008/layout/LinedList"/>
    <dgm:cxn modelId="{FF0D3D27-29AF-4ACB-BAFC-F19CE06C9E78}" type="presParOf" srcId="{2EF32E95-78E1-4455-A301-B7A884A9CA01}" destId="{C4C13ED3-D3A0-4315-9D5D-85BABA27B016}" srcOrd="0" destOrd="0" presId="urn:microsoft.com/office/officeart/2008/layout/LinedList"/>
    <dgm:cxn modelId="{5F3EC65F-C9F9-44E2-8128-28B548EBC47E}" type="presParOf" srcId="{2EF32E95-78E1-4455-A301-B7A884A9CA01}" destId="{3E331361-FBB8-4064-BD56-1C16DE00E9D4}" srcOrd="1" destOrd="0" presId="urn:microsoft.com/office/officeart/2008/layout/LinedList"/>
    <dgm:cxn modelId="{F5D4D536-1041-4215-A4A1-268C493E4FDB}" type="presParOf" srcId="{3E331361-FBB8-4064-BD56-1C16DE00E9D4}" destId="{1EA71D56-85DF-4D54-9B21-A3D3F455259B}" srcOrd="0" destOrd="0" presId="urn:microsoft.com/office/officeart/2008/layout/LinedList"/>
    <dgm:cxn modelId="{F773ACFC-75DE-4D6C-8E5D-D9E85B6139A7}" type="presParOf" srcId="{3E331361-FBB8-4064-BD56-1C16DE00E9D4}" destId="{81581667-0701-47F0-847E-EE4DD183EAB0}" srcOrd="1" destOrd="0" presId="urn:microsoft.com/office/officeart/2008/layout/LinedList"/>
    <dgm:cxn modelId="{12336EBB-0B3D-48A4-961B-2F10A84FB2FF}" type="presParOf" srcId="{81581667-0701-47F0-847E-EE4DD183EAB0}" destId="{F903D8B1-69F0-428F-84EB-6B5A816B651A}" srcOrd="0" destOrd="0" presId="urn:microsoft.com/office/officeart/2008/layout/LinedList"/>
    <dgm:cxn modelId="{1A9604FE-A360-4D87-8388-2C851931A369}" type="presParOf" srcId="{81581667-0701-47F0-847E-EE4DD183EAB0}" destId="{CB207C62-72D1-451E-8386-D8D564CA17AE}" srcOrd="1" destOrd="0" presId="urn:microsoft.com/office/officeart/2008/layout/LinedList"/>
    <dgm:cxn modelId="{A1F9B0C2-059F-4FDF-A877-19FE849CA037}" type="presParOf" srcId="{CB207C62-72D1-451E-8386-D8D564CA17AE}" destId="{BF3829F1-CF72-409F-A77E-0040B4F43822}" srcOrd="0" destOrd="0" presId="urn:microsoft.com/office/officeart/2008/layout/LinedList"/>
    <dgm:cxn modelId="{4BC6DA0B-F722-4019-BD9C-654C0138B014}" type="presParOf" srcId="{CB207C62-72D1-451E-8386-D8D564CA17AE}" destId="{F74AB7C3-C0CE-42A8-ADCD-E354E108D765}" srcOrd="1" destOrd="0" presId="urn:microsoft.com/office/officeart/2008/layout/LinedList"/>
    <dgm:cxn modelId="{F70A7CF3-8D80-40A7-8601-45EC8E0D6250}" type="presParOf" srcId="{CB207C62-72D1-451E-8386-D8D564CA17AE}" destId="{673ECEB4-DF66-471E-B8AB-AD62507899D6}" srcOrd="2" destOrd="0" presId="urn:microsoft.com/office/officeart/2008/layout/LinedList"/>
    <dgm:cxn modelId="{CDEAFCBD-9303-43C8-B885-9A5453A12D79}" type="presParOf" srcId="{81581667-0701-47F0-847E-EE4DD183EAB0}" destId="{169FBE19-E715-439E-AEA0-F69EAD6D0374}" srcOrd="2" destOrd="0" presId="urn:microsoft.com/office/officeart/2008/layout/LinedList"/>
    <dgm:cxn modelId="{8C283436-8FFE-422A-B0FC-37B2BF44224C}" type="presParOf" srcId="{81581667-0701-47F0-847E-EE4DD183EAB0}" destId="{2D8BFC06-7D80-4FC8-B7B1-BF8FFF53707E}" srcOrd="3" destOrd="0" presId="urn:microsoft.com/office/officeart/2008/layout/LinedList"/>
    <dgm:cxn modelId="{7C270E43-F5C1-447E-B610-06F8A8693D27}" type="presParOf" srcId="{81581667-0701-47F0-847E-EE4DD183EAB0}" destId="{A96CE797-A639-4F1E-928C-481D53B7AE3F}" srcOrd="4" destOrd="0" presId="urn:microsoft.com/office/officeart/2008/layout/LinedList"/>
    <dgm:cxn modelId="{1D333D59-C7F7-4F75-8E34-1423937373C3}" type="presParOf" srcId="{A96CE797-A639-4F1E-928C-481D53B7AE3F}" destId="{E9323B10-6D09-4269-A201-655FFA573980}" srcOrd="0" destOrd="0" presId="urn:microsoft.com/office/officeart/2008/layout/LinedList"/>
    <dgm:cxn modelId="{631535D6-C5DF-4369-A4D1-6D83F5BDE8F3}" type="presParOf" srcId="{A96CE797-A639-4F1E-928C-481D53B7AE3F}" destId="{4A98FA18-6FD4-4F43-8879-7E667836F0B2}" srcOrd="1" destOrd="0" presId="urn:microsoft.com/office/officeart/2008/layout/LinedList"/>
    <dgm:cxn modelId="{63D5C00B-656B-4677-AD34-1FA7398EE03E}" type="presParOf" srcId="{A96CE797-A639-4F1E-928C-481D53B7AE3F}" destId="{06BFCF40-0714-4EF7-93B7-0079E195E258}" srcOrd="2" destOrd="0" presId="urn:microsoft.com/office/officeart/2008/layout/LinedList"/>
    <dgm:cxn modelId="{73E7E7C5-20DD-4162-B5CE-704DAA1675CC}" type="presParOf" srcId="{81581667-0701-47F0-847E-EE4DD183EAB0}" destId="{18BC2190-48FF-48B9-9C3F-5331CFE4C0E1}" srcOrd="5" destOrd="0" presId="urn:microsoft.com/office/officeart/2008/layout/LinedList"/>
    <dgm:cxn modelId="{3DC438FF-04AC-4ED1-87F2-2E1AB720BFBC}" type="presParOf" srcId="{81581667-0701-47F0-847E-EE4DD183EAB0}" destId="{8FD45DEC-721B-4C9B-A5DC-6DA847227029}" srcOrd="6" destOrd="0" presId="urn:microsoft.com/office/officeart/2008/layout/LinedList"/>
    <dgm:cxn modelId="{F3BF4148-7188-4FD7-A993-587A88960ED8}" type="presParOf" srcId="{81581667-0701-47F0-847E-EE4DD183EAB0}" destId="{E5D55C69-18FF-4006-85FC-E96CA286270D}" srcOrd="7" destOrd="0" presId="urn:microsoft.com/office/officeart/2008/layout/LinedList"/>
    <dgm:cxn modelId="{66F63014-8BD5-4C35-B6F5-EBAB2417C247}" type="presParOf" srcId="{E5D55C69-18FF-4006-85FC-E96CA286270D}" destId="{C71DDA7A-95DE-43D3-AFDD-51142F31C09F}" srcOrd="0" destOrd="0" presId="urn:microsoft.com/office/officeart/2008/layout/LinedList"/>
    <dgm:cxn modelId="{496FB8FF-92E7-4677-8DAB-14B80CD635B2}" type="presParOf" srcId="{E5D55C69-18FF-4006-85FC-E96CA286270D}" destId="{78ED0FCB-A21F-4819-891A-27814A2F2B73}" srcOrd="1" destOrd="0" presId="urn:microsoft.com/office/officeart/2008/layout/LinedList"/>
    <dgm:cxn modelId="{0B4E99E4-7915-452C-ACFE-A98D8058139D}" type="presParOf" srcId="{E5D55C69-18FF-4006-85FC-E96CA286270D}" destId="{6F5BC1ED-1BF1-4BCA-9A50-E3901C9BEACE}" srcOrd="2" destOrd="0" presId="urn:microsoft.com/office/officeart/2008/layout/LinedList"/>
    <dgm:cxn modelId="{90911821-A754-45B1-A3AC-8B3BD40CED25}" type="presParOf" srcId="{81581667-0701-47F0-847E-EE4DD183EAB0}" destId="{F0EBC1F2-5A41-4D12-9455-7A5C54330513}" srcOrd="8" destOrd="0" presId="urn:microsoft.com/office/officeart/2008/layout/LinedList"/>
    <dgm:cxn modelId="{A69A1E7B-902E-4FDD-9D7F-1F2B4140F2DC}" type="presParOf" srcId="{81581667-0701-47F0-847E-EE4DD183EAB0}" destId="{94DC5FAF-BD5F-4940-BBC0-71C9B9E22E23}" srcOrd="9" destOrd="0" presId="urn:microsoft.com/office/officeart/2008/layout/LinedList"/>
    <dgm:cxn modelId="{9BF64AA3-FE18-4626-9BCB-990DE1B4498C}" type="presParOf" srcId="{81581667-0701-47F0-847E-EE4DD183EAB0}" destId="{EFD56F45-4774-4B05-9611-1DAE7317A1F2}" srcOrd="10" destOrd="0" presId="urn:microsoft.com/office/officeart/2008/layout/LinedList"/>
    <dgm:cxn modelId="{FDD17685-1B37-4A12-85E5-59E59DABB9BC}" type="presParOf" srcId="{EFD56F45-4774-4B05-9611-1DAE7317A1F2}" destId="{E5F60BF8-37CC-4C6C-8744-68781A5AF260}" srcOrd="0" destOrd="0" presId="urn:microsoft.com/office/officeart/2008/layout/LinedList"/>
    <dgm:cxn modelId="{B4F3E83F-2C9C-4706-99D3-FFAA728F554A}" type="presParOf" srcId="{EFD56F45-4774-4B05-9611-1DAE7317A1F2}" destId="{AAD6F35A-ED80-46BA-A77B-3FB906F59183}" srcOrd="1" destOrd="0" presId="urn:microsoft.com/office/officeart/2008/layout/LinedList"/>
    <dgm:cxn modelId="{C8B2B91E-48DA-4B23-A7DB-3B0AB2D58CE4}" type="presParOf" srcId="{EFD56F45-4774-4B05-9611-1DAE7317A1F2}" destId="{EFBB13B6-B3FF-4F11-8233-4032D576033A}" srcOrd="2" destOrd="0" presId="urn:microsoft.com/office/officeart/2008/layout/LinedList"/>
    <dgm:cxn modelId="{C70C3259-7F31-4126-AB72-8DE3498D5BB2}" type="presParOf" srcId="{81581667-0701-47F0-847E-EE4DD183EAB0}" destId="{449DB954-DAAE-429F-84F9-21EB5265CA96}" srcOrd="11" destOrd="0" presId="urn:microsoft.com/office/officeart/2008/layout/LinedList"/>
    <dgm:cxn modelId="{E9DE2C58-C2E6-4A82-AB4E-E86C3A3300B9}" type="presParOf" srcId="{81581667-0701-47F0-847E-EE4DD183EAB0}" destId="{9E53F462-51BC-4BD8-B0E4-22D8C9B74FC8}" srcOrd="12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5F33173-4810-47E2-834C-D9773AAEE097}" type="doc">
      <dgm:prSet loTypeId="urn:microsoft.com/office/officeart/2008/layout/LinedList" loCatId="list" qsTypeId="urn:microsoft.com/office/officeart/2005/8/quickstyle/simple1" qsCatId="simple" csTypeId="urn:microsoft.com/office/officeart/2005/8/colors/accent2_4" csCatId="accent2" phldr="1"/>
      <dgm:spPr/>
      <dgm:t>
        <a:bodyPr/>
        <a:lstStyle/>
        <a:p>
          <a:endParaRPr lang="en-US"/>
        </a:p>
      </dgm:t>
    </dgm:pt>
    <dgm:pt modelId="{311C52F4-E2A6-43BB-8B85-940807987884}">
      <dgm:prSet phldrT="[Text]"/>
      <dgm:spPr/>
      <dgm:t>
        <a:bodyPr/>
        <a:lstStyle/>
        <a:p>
          <a:r>
            <a:rPr lang="en-US" dirty="0">
              <a:solidFill>
                <a:srgbClr val="63666A"/>
              </a:solidFill>
              <a:latin typeface="Lato" panose="020F0502020204030203" pitchFamily="34" charset="0"/>
            </a:rPr>
            <a:t>Data Types Supported</a:t>
          </a:r>
        </a:p>
      </dgm:t>
    </dgm:pt>
    <dgm:pt modelId="{E2F706DD-E8A6-4EEB-A8F5-71AEB3805D87}" type="parTrans" cxnId="{AD8CA806-3CEF-413D-ACAB-091CEC0ADDA4}">
      <dgm:prSet/>
      <dgm:spPr/>
      <dgm:t>
        <a:bodyPr/>
        <a:lstStyle/>
        <a:p>
          <a:endParaRPr lang="en-US"/>
        </a:p>
      </dgm:t>
    </dgm:pt>
    <dgm:pt modelId="{1F2626F3-5054-4EBE-9FA4-7E4BF871A7D5}" type="sibTrans" cxnId="{AD8CA806-3CEF-413D-ACAB-091CEC0ADDA4}">
      <dgm:prSet/>
      <dgm:spPr/>
      <dgm:t>
        <a:bodyPr/>
        <a:lstStyle/>
        <a:p>
          <a:endParaRPr lang="en-US"/>
        </a:p>
      </dgm:t>
    </dgm:pt>
    <dgm:pt modelId="{60B3CEAA-6526-4F9F-AFC8-371B6E34BDAB}">
      <dgm:prSet phldrT="[Text]"/>
      <dgm:spPr/>
      <dgm:t>
        <a:bodyPr/>
        <a:lstStyle/>
        <a:p>
          <a:r>
            <a:rPr lang="en-US">
              <a:solidFill>
                <a:srgbClr val="63666A"/>
              </a:solidFill>
              <a:latin typeface="Lato" panose="020F0502020204030203" pitchFamily="34" charset="0"/>
            </a:rPr>
            <a:t>Boolean</a:t>
          </a:r>
        </a:p>
      </dgm:t>
    </dgm:pt>
    <dgm:pt modelId="{C260140B-D5BE-43E6-8FE2-EE7B232E0374}" type="parTrans" cxnId="{2A240B32-B89D-480C-B361-A0C4E897B310}">
      <dgm:prSet/>
      <dgm:spPr/>
      <dgm:t>
        <a:bodyPr/>
        <a:lstStyle/>
        <a:p>
          <a:endParaRPr lang="en-US"/>
        </a:p>
      </dgm:t>
    </dgm:pt>
    <dgm:pt modelId="{8275358D-4CAD-4EE4-AB7B-280B0323EC9A}" type="sibTrans" cxnId="{2A240B32-B89D-480C-B361-A0C4E897B310}">
      <dgm:prSet/>
      <dgm:spPr/>
      <dgm:t>
        <a:bodyPr/>
        <a:lstStyle/>
        <a:p>
          <a:endParaRPr lang="en-US"/>
        </a:p>
      </dgm:t>
    </dgm:pt>
    <dgm:pt modelId="{78156408-1511-4D46-849D-8138B1CDCD05}">
      <dgm:prSet phldrT="[Text]"/>
      <dgm:spPr/>
      <dgm:t>
        <a:bodyPr/>
        <a:lstStyle/>
        <a:p>
          <a:r>
            <a:rPr lang="en-US">
              <a:solidFill>
                <a:srgbClr val="63666A"/>
              </a:solidFill>
              <a:latin typeface="Lato" panose="020F0502020204030203" pitchFamily="34" charset="0"/>
            </a:rPr>
            <a:t>REAL</a:t>
          </a:r>
        </a:p>
      </dgm:t>
    </dgm:pt>
    <dgm:pt modelId="{C942E23E-20AD-4EA3-A7DF-66BEFB142269}" type="parTrans" cxnId="{9D5C1148-DA1C-41BF-B2D1-A4CB184B80AF}">
      <dgm:prSet/>
      <dgm:spPr/>
      <dgm:t>
        <a:bodyPr/>
        <a:lstStyle/>
        <a:p>
          <a:endParaRPr lang="en-US"/>
        </a:p>
      </dgm:t>
    </dgm:pt>
    <dgm:pt modelId="{937321A8-7FEC-4FA4-9B29-E6EB7ABD308B}" type="sibTrans" cxnId="{9D5C1148-DA1C-41BF-B2D1-A4CB184B80AF}">
      <dgm:prSet/>
      <dgm:spPr/>
      <dgm:t>
        <a:bodyPr/>
        <a:lstStyle/>
        <a:p>
          <a:endParaRPr lang="en-US"/>
        </a:p>
      </dgm:t>
    </dgm:pt>
    <dgm:pt modelId="{11DC502B-0718-4D2F-A5E9-8EDAC1B76D35}">
      <dgm:prSet phldrT="[Text]"/>
      <dgm:spPr/>
      <dgm:t>
        <a:bodyPr/>
        <a:lstStyle/>
        <a:p>
          <a:r>
            <a:rPr lang="en-US">
              <a:solidFill>
                <a:srgbClr val="63666A"/>
              </a:solidFill>
              <a:latin typeface="Lato" panose="020F0502020204030203" pitchFamily="34" charset="0"/>
            </a:rPr>
            <a:t>LREAL</a:t>
          </a:r>
        </a:p>
      </dgm:t>
    </dgm:pt>
    <dgm:pt modelId="{5AEE2A2E-D6A6-4209-9150-DF0CE5966CEC}" type="parTrans" cxnId="{4390A4F6-D42F-4D71-8FC9-665C292C8555}">
      <dgm:prSet/>
      <dgm:spPr/>
      <dgm:t>
        <a:bodyPr/>
        <a:lstStyle/>
        <a:p>
          <a:endParaRPr lang="en-US"/>
        </a:p>
      </dgm:t>
    </dgm:pt>
    <dgm:pt modelId="{DE6C9287-BDEB-4E78-A72F-AAA7E3D2DAD0}" type="sibTrans" cxnId="{4390A4F6-D42F-4D71-8FC9-665C292C8555}">
      <dgm:prSet/>
      <dgm:spPr/>
      <dgm:t>
        <a:bodyPr/>
        <a:lstStyle/>
        <a:p>
          <a:endParaRPr lang="en-US"/>
        </a:p>
      </dgm:t>
    </dgm:pt>
    <dgm:pt modelId="{BB7DA02E-E517-4EE5-AEA7-A13B379BE4A5}">
      <dgm:prSet phldrT="[Text]"/>
      <dgm:spPr/>
      <dgm:t>
        <a:bodyPr/>
        <a:lstStyle/>
        <a:p>
          <a:r>
            <a:rPr lang="en-US">
              <a:solidFill>
                <a:srgbClr val="63666A"/>
              </a:solidFill>
              <a:latin typeface="Lato" panose="020F0502020204030203" pitchFamily="34" charset="0"/>
            </a:rPr>
            <a:t>SINT</a:t>
          </a:r>
        </a:p>
      </dgm:t>
    </dgm:pt>
    <dgm:pt modelId="{1466A4FA-3A3D-485A-ABDA-8B4E9FA2C2E1}" type="parTrans" cxnId="{06DDECAE-414E-48C3-9D67-8F5D5EE91701}">
      <dgm:prSet/>
      <dgm:spPr/>
      <dgm:t>
        <a:bodyPr/>
        <a:lstStyle/>
        <a:p>
          <a:endParaRPr lang="en-US"/>
        </a:p>
      </dgm:t>
    </dgm:pt>
    <dgm:pt modelId="{498AED54-0111-4909-90B9-C672646F664D}" type="sibTrans" cxnId="{06DDECAE-414E-48C3-9D67-8F5D5EE91701}">
      <dgm:prSet/>
      <dgm:spPr/>
      <dgm:t>
        <a:bodyPr/>
        <a:lstStyle/>
        <a:p>
          <a:endParaRPr lang="en-US"/>
        </a:p>
      </dgm:t>
    </dgm:pt>
    <dgm:pt modelId="{904C8F1F-D6CA-46B2-983D-6A2E351D43C7}">
      <dgm:prSet phldrT="[Text]"/>
      <dgm:spPr/>
      <dgm:t>
        <a:bodyPr/>
        <a:lstStyle/>
        <a:p>
          <a:r>
            <a:rPr lang="en-US">
              <a:solidFill>
                <a:srgbClr val="63666A"/>
              </a:solidFill>
              <a:latin typeface="Lato" panose="020F0502020204030203" pitchFamily="34" charset="0"/>
            </a:rPr>
            <a:t>USINT</a:t>
          </a:r>
        </a:p>
      </dgm:t>
    </dgm:pt>
    <dgm:pt modelId="{F9F1BF08-0718-49F2-9008-132A4616C980}" type="parTrans" cxnId="{C24EBBBD-51D0-4EB8-9DCC-49AD49C4FAC4}">
      <dgm:prSet/>
      <dgm:spPr/>
      <dgm:t>
        <a:bodyPr/>
        <a:lstStyle/>
        <a:p>
          <a:endParaRPr lang="en-US"/>
        </a:p>
      </dgm:t>
    </dgm:pt>
    <dgm:pt modelId="{8E4EAE57-D7BE-4FAA-AE64-BAD8CC9F42C8}" type="sibTrans" cxnId="{C24EBBBD-51D0-4EB8-9DCC-49AD49C4FAC4}">
      <dgm:prSet/>
      <dgm:spPr/>
      <dgm:t>
        <a:bodyPr/>
        <a:lstStyle/>
        <a:p>
          <a:endParaRPr lang="en-US"/>
        </a:p>
      </dgm:t>
    </dgm:pt>
    <dgm:pt modelId="{499280DE-C97D-40E5-93DF-503509814596}">
      <dgm:prSet phldrT="[Text]"/>
      <dgm:spPr/>
      <dgm:t>
        <a:bodyPr/>
        <a:lstStyle/>
        <a:p>
          <a:r>
            <a:rPr lang="en-US" dirty="0">
              <a:solidFill>
                <a:srgbClr val="63666A"/>
              </a:solidFill>
              <a:latin typeface="Lato" panose="020F0502020204030203" pitchFamily="34" charset="0"/>
            </a:rPr>
            <a:t>BYTE</a:t>
          </a:r>
        </a:p>
      </dgm:t>
    </dgm:pt>
    <dgm:pt modelId="{2216FD49-1709-4277-843A-AE83DA5306D9}" type="parTrans" cxnId="{F8C45BF1-6013-43BE-ADF0-A0DACAA22C85}">
      <dgm:prSet/>
      <dgm:spPr/>
      <dgm:t>
        <a:bodyPr/>
        <a:lstStyle/>
        <a:p>
          <a:endParaRPr lang="en-US"/>
        </a:p>
      </dgm:t>
    </dgm:pt>
    <dgm:pt modelId="{C1473B3E-E0AE-4CD9-8887-B9ABFD54BED9}" type="sibTrans" cxnId="{F8C45BF1-6013-43BE-ADF0-A0DACAA22C85}">
      <dgm:prSet/>
      <dgm:spPr/>
      <dgm:t>
        <a:bodyPr/>
        <a:lstStyle/>
        <a:p>
          <a:endParaRPr lang="en-US"/>
        </a:p>
      </dgm:t>
    </dgm:pt>
    <dgm:pt modelId="{E3D2925F-CDE0-4C88-97C0-5A59340C8D38}">
      <dgm:prSet phldrT="[Text]"/>
      <dgm:spPr/>
      <dgm:t>
        <a:bodyPr/>
        <a:lstStyle/>
        <a:p>
          <a:r>
            <a:rPr lang="en-US" dirty="0">
              <a:solidFill>
                <a:srgbClr val="63666A"/>
              </a:solidFill>
              <a:latin typeface="Lato" panose="020F0502020204030203" pitchFamily="34" charset="0"/>
            </a:rPr>
            <a:t>INT</a:t>
          </a:r>
        </a:p>
      </dgm:t>
    </dgm:pt>
    <dgm:pt modelId="{AFA8365A-FE51-46A3-8578-9FAC618C4991}" type="parTrans" cxnId="{6689021C-F081-4934-8BD0-3B79A156DAD5}">
      <dgm:prSet/>
      <dgm:spPr/>
      <dgm:t>
        <a:bodyPr/>
        <a:lstStyle/>
        <a:p>
          <a:endParaRPr lang="en-US"/>
        </a:p>
      </dgm:t>
    </dgm:pt>
    <dgm:pt modelId="{22CCD865-0A93-43E7-A60D-2CB56FCD8A01}" type="sibTrans" cxnId="{6689021C-F081-4934-8BD0-3B79A156DAD5}">
      <dgm:prSet/>
      <dgm:spPr/>
      <dgm:t>
        <a:bodyPr/>
        <a:lstStyle/>
        <a:p>
          <a:endParaRPr lang="en-US"/>
        </a:p>
      </dgm:t>
    </dgm:pt>
    <dgm:pt modelId="{16941BDF-6B2A-4F23-8A31-7FE3050C02B0}">
      <dgm:prSet phldrT="[Text]"/>
      <dgm:spPr/>
      <dgm:t>
        <a:bodyPr/>
        <a:lstStyle/>
        <a:p>
          <a:r>
            <a:rPr lang="en-US">
              <a:solidFill>
                <a:srgbClr val="63666A"/>
              </a:solidFill>
              <a:latin typeface="Lato" panose="020F0502020204030203" pitchFamily="34" charset="0"/>
            </a:rPr>
            <a:t>UINT</a:t>
          </a:r>
        </a:p>
      </dgm:t>
    </dgm:pt>
    <dgm:pt modelId="{E2974906-EE98-41F7-8F59-225D6A5D869B}" type="parTrans" cxnId="{C5CC471C-ED7C-46BA-B68D-C5136D34C2E5}">
      <dgm:prSet/>
      <dgm:spPr/>
      <dgm:t>
        <a:bodyPr/>
        <a:lstStyle/>
        <a:p>
          <a:endParaRPr lang="en-US"/>
        </a:p>
      </dgm:t>
    </dgm:pt>
    <dgm:pt modelId="{5B5EB569-C92B-4480-B122-95CECA9ABEC1}" type="sibTrans" cxnId="{C5CC471C-ED7C-46BA-B68D-C5136D34C2E5}">
      <dgm:prSet/>
      <dgm:spPr/>
      <dgm:t>
        <a:bodyPr/>
        <a:lstStyle/>
        <a:p>
          <a:endParaRPr lang="en-US"/>
        </a:p>
      </dgm:t>
    </dgm:pt>
    <dgm:pt modelId="{71776D91-FF32-4A2F-A6D1-0CBF3B8F5561}">
      <dgm:prSet phldrT="[Text]"/>
      <dgm:spPr/>
      <dgm:t>
        <a:bodyPr/>
        <a:lstStyle/>
        <a:p>
          <a:r>
            <a:rPr lang="en-US">
              <a:solidFill>
                <a:srgbClr val="63666A"/>
              </a:solidFill>
              <a:latin typeface="Lato" panose="020F0502020204030203" pitchFamily="34" charset="0"/>
            </a:rPr>
            <a:t>WORD</a:t>
          </a:r>
        </a:p>
      </dgm:t>
    </dgm:pt>
    <dgm:pt modelId="{8BE79FBA-0BE4-4170-8B54-D79E236BEE37}" type="parTrans" cxnId="{CBC99C03-F723-4267-B5D3-9342247A17B9}">
      <dgm:prSet/>
      <dgm:spPr/>
      <dgm:t>
        <a:bodyPr/>
        <a:lstStyle/>
        <a:p>
          <a:endParaRPr lang="en-US"/>
        </a:p>
      </dgm:t>
    </dgm:pt>
    <dgm:pt modelId="{D73BCBC0-033B-412A-AE5B-203F71D7D93E}" type="sibTrans" cxnId="{CBC99C03-F723-4267-B5D3-9342247A17B9}">
      <dgm:prSet/>
      <dgm:spPr/>
      <dgm:t>
        <a:bodyPr/>
        <a:lstStyle/>
        <a:p>
          <a:endParaRPr lang="en-US"/>
        </a:p>
      </dgm:t>
    </dgm:pt>
    <dgm:pt modelId="{0ADBFA6E-18BF-4476-803F-7A8D65F82556}">
      <dgm:prSet phldrT="[Text]"/>
      <dgm:spPr/>
      <dgm:t>
        <a:bodyPr/>
        <a:lstStyle/>
        <a:p>
          <a:r>
            <a:rPr lang="en-US">
              <a:solidFill>
                <a:srgbClr val="63666A"/>
              </a:solidFill>
              <a:latin typeface="Lato" panose="020F0502020204030203" pitchFamily="34" charset="0"/>
            </a:rPr>
            <a:t>DINT</a:t>
          </a:r>
        </a:p>
      </dgm:t>
    </dgm:pt>
    <dgm:pt modelId="{9A3E56EA-51FB-444D-A7A7-9C450B769342}" type="parTrans" cxnId="{507AB98F-E1F9-49BB-906F-BA187EF6AF93}">
      <dgm:prSet/>
      <dgm:spPr/>
      <dgm:t>
        <a:bodyPr/>
        <a:lstStyle/>
        <a:p>
          <a:endParaRPr lang="en-US"/>
        </a:p>
      </dgm:t>
    </dgm:pt>
    <dgm:pt modelId="{0036E42C-01B5-43AC-A409-766B5F8D9FF7}" type="sibTrans" cxnId="{507AB98F-E1F9-49BB-906F-BA187EF6AF93}">
      <dgm:prSet/>
      <dgm:spPr/>
      <dgm:t>
        <a:bodyPr/>
        <a:lstStyle/>
        <a:p>
          <a:endParaRPr lang="en-US"/>
        </a:p>
      </dgm:t>
    </dgm:pt>
    <dgm:pt modelId="{88D65469-1E47-4878-87CA-F49260AB1537}">
      <dgm:prSet phldrT="[Text]"/>
      <dgm:spPr/>
      <dgm:t>
        <a:bodyPr/>
        <a:lstStyle/>
        <a:p>
          <a:r>
            <a:rPr lang="en-US" dirty="0">
              <a:solidFill>
                <a:srgbClr val="63666A"/>
              </a:solidFill>
              <a:latin typeface="Lato" panose="020F0502020204030203" pitchFamily="34" charset="0"/>
            </a:rPr>
            <a:t>DWORD</a:t>
          </a:r>
        </a:p>
      </dgm:t>
    </dgm:pt>
    <dgm:pt modelId="{E8DF206F-B217-4A7F-ABD0-EE0C67009FE3}" type="parTrans" cxnId="{6980F64E-A28C-4374-861F-B06F8861EEF6}">
      <dgm:prSet/>
      <dgm:spPr/>
      <dgm:t>
        <a:bodyPr/>
        <a:lstStyle/>
        <a:p>
          <a:endParaRPr lang="en-US"/>
        </a:p>
      </dgm:t>
    </dgm:pt>
    <dgm:pt modelId="{8BE31E64-9014-400E-9B11-4E4C3C032997}" type="sibTrans" cxnId="{6980F64E-A28C-4374-861F-B06F8861EEF6}">
      <dgm:prSet/>
      <dgm:spPr/>
      <dgm:t>
        <a:bodyPr/>
        <a:lstStyle/>
        <a:p>
          <a:endParaRPr lang="en-US"/>
        </a:p>
      </dgm:t>
    </dgm:pt>
    <dgm:pt modelId="{445F2F54-F9B9-464E-9407-346D114C37CC}">
      <dgm:prSet phldrT="[Text]"/>
      <dgm:spPr/>
      <dgm:t>
        <a:bodyPr/>
        <a:lstStyle/>
        <a:p>
          <a:r>
            <a:rPr lang="en-US">
              <a:solidFill>
                <a:srgbClr val="63666A"/>
              </a:solidFill>
              <a:latin typeface="Lato" panose="020F0502020204030203" pitchFamily="34" charset="0"/>
            </a:rPr>
            <a:t>LINT</a:t>
          </a:r>
        </a:p>
      </dgm:t>
    </dgm:pt>
    <dgm:pt modelId="{AC9735AF-6708-4FDF-964F-CFE0E5B375EE}" type="parTrans" cxnId="{8B94B687-5DAE-4A25-B3B7-EB0C526769C3}">
      <dgm:prSet/>
      <dgm:spPr/>
      <dgm:t>
        <a:bodyPr/>
        <a:lstStyle/>
        <a:p>
          <a:endParaRPr lang="en-US"/>
        </a:p>
      </dgm:t>
    </dgm:pt>
    <dgm:pt modelId="{DB43E4BE-6040-4C33-9001-4A018B49E24F}" type="sibTrans" cxnId="{8B94B687-5DAE-4A25-B3B7-EB0C526769C3}">
      <dgm:prSet/>
      <dgm:spPr/>
      <dgm:t>
        <a:bodyPr/>
        <a:lstStyle/>
        <a:p>
          <a:endParaRPr lang="en-US"/>
        </a:p>
      </dgm:t>
    </dgm:pt>
    <dgm:pt modelId="{57220EE2-F05C-455C-92D0-F77287161B48}">
      <dgm:prSet phldrT="[Text]"/>
      <dgm:spPr/>
      <dgm:t>
        <a:bodyPr/>
        <a:lstStyle/>
        <a:p>
          <a:r>
            <a:rPr lang="en-US">
              <a:solidFill>
                <a:srgbClr val="63666A"/>
              </a:solidFill>
              <a:latin typeface="Lato" panose="020F0502020204030203" pitchFamily="34" charset="0"/>
            </a:rPr>
            <a:t>ULINT</a:t>
          </a:r>
        </a:p>
      </dgm:t>
    </dgm:pt>
    <dgm:pt modelId="{8AEFE465-986F-4DEF-BF0E-4A3F44AA9BC3}" type="parTrans" cxnId="{599E11BC-CC65-4AC2-A5D8-D02227029C65}">
      <dgm:prSet/>
      <dgm:spPr/>
      <dgm:t>
        <a:bodyPr/>
        <a:lstStyle/>
        <a:p>
          <a:endParaRPr lang="en-US"/>
        </a:p>
      </dgm:t>
    </dgm:pt>
    <dgm:pt modelId="{C30DA572-0F45-4661-8B7D-75A835311809}" type="sibTrans" cxnId="{599E11BC-CC65-4AC2-A5D8-D02227029C65}">
      <dgm:prSet/>
      <dgm:spPr/>
      <dgm:t>
        <a:bodyPr/>
        <a:lstStyle/>
        <a:p>
          <a:endParaRPr lang="en-US"/>
        </a:p>
      </dgm:t>
    </dgm:pt>
    <dgm:pt modelId="{B5D1E8F3-C949-4DCB-8EDF-B8EC8BF02049}">
      <dgm:prSet phldrT="[Text]"/>
      <dgm:spPr/>
      <dgm:t>
        <a:bodyPr/>
        <a:lstStyle/>
        <a:p>
          <a:r>
            <a:rPr lang="en-US" dirty="0">
              <a:solidFill>
                <a:srgbClr val="63666A"/>
              </a:solidFill>
              <a:latin typeface="Lato" panose="020F0502020204030203" pitchFamily="34" charset="0"/>
            </a:rPr>
            <a:t>LWORD</a:t>
          </a:r>
        </a:p>
      </dgm:t>
    </dgm:pt>
    <dgm:pt modelId="{9FCCCA2D-E38C-4445-BB1F-F357AFB66F08}" type="parTrans" cxnId="{DBEDA788-430E-4F34-829A-423AD1C54628}">
      <dgm:prSet/>
      <dgm:spPr/>
      <dgm:t>
        <a:bodyPr/>
        <a:lstStyle/>
        <a:p>
          <a:endParaRPr lang="en-US"/>
        </a:p>
      </dgm:t>
    </dgm:pt>
    <dgm:pt modelId="{90069487-E724-42E2-B681-E2DA2039EDC8}" type="sibTrans" cxnId="{DBEDA788-430E-4F34-829A-423AD1C54628}">
      <dgm:prSet/>
      <dgm:spPr/>
      <dgm:t>
        <a:bodyPr/>
        <a:lstStyle/>
        <a:p>
          <a:endParaRPr lang="en-US"/>
        </a:p>
      </dgm:t>
    </dgm:pt>
    <dgm:pt modelId="{0933F751-5A5F-4F90-A282-1304CECB0A20}">
      <dgm:prSet phldrT="[Text]"/>
      <dgm:spPr/>
      <dgm:t>
        <a:bodyPr/>
        <a:lstStyle/>
        <a:p>
          <a:r>
            <a:rPr lang="en-US">
              <a:solidFill>
                <a:srgbClr val="63666A"/>
              </a:solidFill>
              <a:latin typeface="Lato" panose="020F0502020204030203" pitchFamily="34" charset="0"/>
            </a:rPr>
            <a:t>TIME</a:t>
          </a:r>
        </a:p>
      </dgm:t>
    </dgm:pt>
    <dgm:pt modelId="{863B13C7-72E7-40FB-A7D1-1C6E065EBF1D}" type="parTrans" cxnId="{BCB382F8-DFE2-4DF7-89B3-C6342E676E31}">
      <dgm:prSet/>
      <dgm:spPr/>
      <dgm:t>
        <a:bodyPr/>
        <a:lstStyle/>
        <a:p>
          <a:endParaRPr lang="en-US"/>
        </a:p>
      </dgm:t>
    </dgm:pt>
    <dgm:pt modelId="{F48A6CAC-82FC-46AF-9B67-87F7B98D24B2}" type="sibTrans" cxnId="{BCB382F8-DFE2-4DF7-89B3-C6342E676E31}">
      <dgm:prSet/>
      <dgm:spPr/>
      <dgm:t>
        <a:bodyPr/>
        <a:lstStyle/>
        <a:p>
          <a:endParaRPr lang="en-US"/>
        </a:p>
      </dgm:t>
    </dgm:pt>
    <dgm:pt modelId="{83DFAAB1-9DE1-4C20-B578-670F3120E15D}">
      <dgm:prSet phldrT="[Text]"/>
      <dgm:spPr/>
      <dgm:t>
        <a:bodyPr/>
        <a:lstStyle/>
        <a:p>
          <a:r>
            <a:rPr lang="en-US" dirty="0">
              <a:solidFill>
                <a:srgbClr val="63666A"/>
              </a:solidFill>
              <a:latin typeface="Lato" panose="020F0502020204030203" pitchFamily="34" charset="0"/>
            </a:rPr>
            <a:t>STRING</a:t>
          </a:r>
        </a:p>
      </dgm:t>
    </dgm:pt>
    <dgm:pt modelId="{587A9CC3-677E-4899-96D2-1D84670A35DA}" type="parTrans" cxnId="{586F79BD-7444-4723-AC45-DDD5DC3C1FC9}">
      <dgm:prSet/>
      <dgm:spPr/>
      <dgm:t>
        <a:bodyPr/>
        <a:lstStyle/>
        <a:p>
          <a:endParaRPr lang="en-US"/>
        </a:p>
      </dgm:t>
    </dgm:pt>
    <dgm:pt modelId="{A2560A8C-0BC4-48D1-9312-49677D61FC24}" type="sibTrans" cxnId="{586F79BD-7444-4723-AC45-DDD5DC3C1FC9}">
      <dgm:prSet/>
      <dgm:spPr/>
      <dgm:t>
        <a:bodyPr/>
        <a:lstStyle/>
        <a:p>
          <a:endParaRPr lang="en-US"/>
        </a:p>
      </dgm:t>
    </dgm:pt>
    <dgm:pt modelId="{A76AB44F-4232-4A9B-AEBF-85B83C1CC9E1}" type="pres">
      <dgm:prSet presAssocID="{95F33173-4810-47E2-834C-D9773AAEE097}" presName="vert0" presStyleCnt="0">
        <dgm:presLayoutVars>
          <dgm:dir/>
          <dgm:animOne val="branch"/>
          <dgm:animLvl val="lvl"/>
        </dgm:presLayoutVars>
      </dgm:prSet>
      <dgm:spPr/>
    </dgm:pt>
    <dgm:pt modelId="{AEDA5F68-DB38-4CBB-85E6-7C7C9768F978}" type="pres">
      <dgm:prSet presAssocID="{311C52F4-E2A6-43BB-8B85-940807987884}" presName="thickLine" presStyleLbl="alignNode1" presStyleIdx="0" presStyleCnt="1"/>
      <dgm:spPr/>
    </dgm:pt>
    <dgm:pt modelId="{03A2C246-2D08-49D1-B4F6-5DBD027F0D11}" type="pres">
      <dgm:prSet presAssocID="{311C52F4-E2A6-43BB-8B85-940807987884}" presName="horz1" presStyleCnt="0"/>
      <dgm:spPr/>
    </dgm:pt>
    <dgm:pt modelId="{90C38840-F6DA-4B15-BF7D-AF57FD138F64}" type="pres">
      <dgm:prSet presAssocID="{311C52F4-E2A6-43BB-8B85-940807987884}" presName="tx1" presStyleLbl="revTx" presStyleIdx="0" presStyleCnt="17" custScaleX="273499"/>
      <dgm:spPr/>
    </dgm:pt>
    <dgm:pt modelId="{31BCD210-338C-448F-BBA4-5CB0E93FAB76}" type="pres">
      <dgm:prSet presAssocID="{311C52F4-E2A6-43BB-8B85-940807987884}" presName="vert1" presStyleCnt="0"/>
      <dgm:spPr/>
    </dgm:pt>
    <dgm:pt modelId="{70B5DD39-F0E6-4CCD-A976-9336E6EDA19B}" type="pres">
      <dgm:prSet presAssocID="{60B3CEAA-6526-4F9F-AFC8-371B6E34BDAB}" presName="vertSpace2a" presStyleCnt="0"/>
      <dgm:spPr/>
    </dgm:pt>
    <dgm:pt modelId="{0296FAA2-AE4C-45CC-B57B-8F72A58ADA85}" type="pres">
      <dgm:prSet presAssocID="{60B3CEAA-6526-4F9F-AFC8-371B6E34BDAB}" presName="horz2" presStyleCnt="0"/>
      <dgm:spPr/>
    </dgm:pt>
    <dgm:pt modelId="{7AACAC38-353A-45A2-A6F4-AB83EBD72D04}" type="pres">
      <dgm:prSet presAssocID="{60B3CEAA-6526-4F9F-AFC8-371B6E34BDAB}" presName="horzSpace2" presStyleCnt="0"/>
      <dgm:spPr/>
    </dgm:pt>
    <dgm:pt modelId="{AC089D7D-CF93-4FD2-BA9F-1EED0D953510}" type="pres">
      <dgm:prSet presAssocID="{60B3CEAA-6526-4F9F-AFC8-371B6E34BDAB}" presName="tx2" presStyleLbl="revTx" presStyleIdx="1" presStyleCnt="17"/>
      <dgm:spPr/>
    </dgm:pt>
    <dgm:pt modelId="{5928A09A-52C2-4FCA-819D-3E354B694261}" type="pres">
      <dgm:prSet presAssocID="{60B3CEAA-6526-4F9F-AFC8-371B6E34BDAB}" presName="vert2" presStyleCnt="0"/>
      <dgm:spPr/>
    </dgm:pt>
    <dgm:pt modelId="{A32CE9FA-C2CB-4C6B-9FAE-461A308FEF09}" type="pres">
      <dgm:prSet presAssocID="{60B3CEAA-6526-4F9F-AFC8-371B6E34BDAB}" presName="thinLine2b" presStyleLbl="callout" presStyleIdx="0" presStyleCnt="16"/>
      <dgm:spPr/>
    </dgm:pt>
    <dgm:pt modelId="{E21BB954-3E77-4FA9-93A8-84FE98208B32}" type="pres">
      <dgm:prSet presAssocID="{60B3CEAA-6526-4F9F-AFC8-371B6E34BDAB}" presName="vertSpace2b" presStyleCnt="0"/>
      <dgm:spPr/>
    </dgm:pt>
    <dgm:pt modelId="{190981D1-B1C9-40B1-8AAC-5502C48ACFE8}" type="pres">
      <dgm:prSet presAssocID="{BB7DA02E-E517-4EE5-AEA7-A13B379BE4A5}" presName="horz2" presStyleCnt="0"/>
      <dgm:spPr/>
    </dgm:pt>
    <dgm:pt modelId="{73287DA4-4908-4E8B-A9FE-08BE2D0805DF}" type="pres">
      <dgm:prSet presAssocID="{BB7DA02E-E517-4EE5-AEA7-A13B379BE4A5}" presName="horzSpace2" presStyleCnt="0"/>
      <dgm:spPr/>
    </dgm:pt>
    <dgm:pt modelId="{ACD230D0-FFF4-4F83-9643-7EA2BC075469}" type="pres">
      <dgm:prSet presAssocID="{BB7DA02E-E517-4EE5-AEA7-A13B379BE4A5}" presName="tx2" presStyleLbl="revTx" presStyleIdx="2" presStyleCnt="17"/>
      <dgm:spPr/>
    </dgm:pt>
    <dgm:pt modelId="{A61784A7-BE43-4615-B446-070B34878E46}" type="pres">
      <dgm:prSet presAssocID="{BB7DA02E-E517-4EE5-AEA7-A13B379BE4A5}" presName="vert2" presStyleCnt="0"/>
      <dgm:spPr/>
    </dgm:pt>
    <dgm:pt modelId="{75B164C9-7B3F-4CAA-8BDE-8B04E56E05B1}" type="pres">
      <dgm:prSet presAssocID="{BB7DA02E-E517-4EE5-AEA7-A13B379BE4A5}" presName="thinLine2b" presStyleLbl="callout" presStyleIdx="1" presStyleCnt="16"/>
      <dgm:spPr/>
    </dgm:pt>
    <dgm:pt modelId="{29C174D5-A046-4462-8037-C660B5C7CDE8}" type="pres">
      <dgm:prSet presAssocID="{BB7DA02E-E517-4EE5-AEA7-A13B379BE4A5}" presName="vertSpace2b" presStyleCnt="0"/>
      <dgm:spPr/>
    </dgm:pt>
    <dgm:pt modelId="{470DBE40-1B9B-4809-8AB0-471EAF9EE1DD}" type="pres">
      <dgm:prSet presAssocID="{904C8F1F-D6CA-46B2-983D-6A2E351D43C7}" presName="horz2" presStyleCnt="0"/>
      <dgm:spPr/>
    </dgm:pt>
    <dgm:pt modelId="{74678753-528A-42C9-B59F-EF2DCAB13559}" type="pres">
      <dgm:prSet presAssocID="{904C8F1F-D6CA-46B2-983D-6A2E351D43C7}" presName="horzSpace2" presStyleCnt="0"/>
      <dgm:spPr/>
    </dgm:pt>
    <dgm:pt modelId="{BF82B72D-A957-43F3-92BB-B010F16E3D36}" type="pres">
      <dgm:prSet presAssocID="{904C8F1F-D6CA-46B2-983D-6A2E351D43C7}" presName="tx2" presStyleLbl="revTx" presStyleIdx="3" presStyleCnt="17"/>
      <dgm:spPr/>
    </dgm:pt>
    <dgm:pt modelId="{D1400BFD-46E1-4B38-BF30-533F19201A0A}" type="pres">
      <dgm:prSet presAssocID="{904C8F1F-D6CA-46B2-983D-6A2E351D43C7}" presName="vert2" presStyleCnt="0"/>
      <dgm:spPr/>
    </dgm:pt>
    <dgm:pt modelId="{6352B019-5E33-4940-B043-FACB9F821A15}" type="pres">
      <dgm:prSet presAssocID="{904C8F1F-D6CA-46B2-983D-6A2E351D43C7}" presName="thinLine2b" presStyleLbl="callout" presStyleIdx="2" presStyleCnt="16"/>
      <dgm:spPr/>
    </dgm:pt>
    <dgm:pt modelId="{D4C42D89-83E7-4AA4-9131-84FFC8583035}" type="pres">
      <dgm:prSet presAssocID="{904C8F1F-D6CA-46B2-983D-6A2E351D43C7}" presName="vertSpace2b" presStyleCnt="0"/>
      <dgm:spPr/>
    </dgm:pt>
    <dgm:pt modelId="{4238EEC5-5830-4134-916B-028923DF85EE}" type="pres">
      <dgm:prSet presAssocID="{499280DE-C97D-40E5-93DF-503509814596}" presName="horz2" presStyleCnt="0"/>
      <dgm:spPr/>
    </dgm:pt>
    <dgm:pt modelId="{8D981AEC-9055-492C-9C9B-7087535D1221}" type="pres">
      <dgm:prSet presAssocID="{499280DE-C97D-40E5-93DF-503509814596}" presName="horzSpace2" presStyleCnt="0"/>
      <dgm:spPr/>
    </dgm:pt>
    <dgm:pt modelId="{BE46E154-A1A8-41F1-8E54-1EE6C27C18E4}" type="pres">
      <dgm:prSet presAssocID="{499280DE-C97D-40E5-93DF-503509814596}" presName="tx2" presStyleLbl="revTx" presStyleIdx="4" presStyleCnt="17"/>
      <dgm:spPr/>
    </dgm:pt>
    <dgm:pt modelId="{944D918B-A0EA-4A4F-A48E-FEBD7554B6C4}" type="pres">
      <dgm:prSet presAssocID="{499280DE-C97D-40E5-93DF-503509814596}" presName="vert2" presStyleCnt="0"/>
      <dgm:spPr/>
    </dgm:pt>
    <dgm:pt modelId="{29FB5101-C34E-434D-B584-27B03120ED35}" type="pres">
      <dgm:prSet presAssocID="{499280DE-C97D-40E5-93DF-503509814596}" presName="thinLine2b" presStyleLbl="callout" presStyleIdx="3" presStyleCnt="16"/>
      <dgm:spPr/>
    </dgm:pt>
    <dgm:pt modelId="{C1FC5466-C847-408B-8819-2258E5EE9365}" type="pres">
      <dgm:prSet presAssocID="{499280DE-C97D-40E5-93DF-503509814596}" presName="vertSpace2b" presStyleCnt="0"/>
      <dgm:spPr/>
    </dgm:pt>
    <dgm:pt modelId="{2683529D-715D-4910-AA72-A06A180D83D5}" type="pres">
      <dgm:prSet presAssocID="{E3D2925F-CDE0-4C88-97C0-5A59340C8D38}" presName="horz2" presStyleCnt="0"/>
      <dgm:spPr/>
    </dgm:pt>
    <dgm:pt modelId="{ED694447-ABBF-43C8-A275-ED4AC80C6653}" type="pres">
      <dgm:prSet presAssocID="{E3D2925F-CDE0-4C88-97C0-5A59340C8D38}" presName="horzSpace2" presStyleCnt="0"/>
      <dgm:spPr/>
    </dgm:pt>
    <dgm:pt modelId="{A266113C-D01C-454F-B608-24A614AA1CA5}" type="pres">
      <dgm:prSet presAssocID="{E3D2925F-CDE0-4C88-97C0-5A59340C8D38}" presName="tx2" presStyleLbl="revTx" presStyleIdx="5" presStyleCnt="17"/>
      <dgm:spPr/>
    </dgm:pt>
    <dgm:pt modelId="{2A3F5676-F1BB-43FD-9A1C-37438C0FCCFD}" type="pres">
      <dgm:prSet presAssocID="{E3D2925F-CDE0-4C88-97C0-5A59340C8D38}" presName="vert2" presStyleCnt="0"/>
      <dgm:spPr/>
    </dgm:pt>
    <dgm:pt modelId="{7FE41DAE-B5DD-4A95-8B67-9E6839C8C95E}" type="pres">
      <dgm:prSet presAssocID="{E3D2925F-CDE0-4C88-97C0-5A59340C8D38}" presName="thinLine2b" presStyleLbl="callout" presStyleIdx="4" presStyleCnt="16"/>
      <dgm:spPr/>
    </dgm:pt>
    <dgm:pt modelId="{9C65A940-77E2-495F-BB59-CF15ED04ADB8}" type="pres">
      <dgm:prSet presAssocID="{E3D2925F-CDE0-4C88-97C0-5A59340C8D38}" presName="vertSpace2b" presStyleCnt="0"/>
      <dgm:spPr/>
    </dgm:pt>
    <dgm:pt modelId="{50E79312-A549-445A-86F4-8066C6156B2C}" type="pres">
      <dgm:prSet presAssocID="{16941BDF-6B2A-4F23-8A31-7FE3050C02B0}" presName="horz2" presStyleCnt="0"/>
      <dgm:spPr/>
    </dgm:pt>
    <dgm:pt modelId="{1C6F8C43-8EC9-488E-BDB6-41E7C2E34C01}" type="pres">
      <dgm:prSet presAssocID="{16941BDF-6B2A-4F23-8A31-7FE3050C02B0}" presName="horzSpace2" presStyleCnt="0"/>
      <dgm:spPr/>
    </dgm:pt>
    <dgm:pt modelId="{A57C2110-462D-472D-BA17-3F97043017A8}" type="pres">
      <dgm:prSet presAssocID="{16941BDF-6B2A-4F23-8A31-7FE3050C02B0}" presName="tx2" presStyleLbl="revTx" presStyleIdx="6" presStyleCnt="17"/>
      <dgm:spPr/>
    </dgm:pt>
    <dgm:pt modelId="{C434FB3B-F1AA-4798-BC4D-6D15FCBB0E68}" type="pres">
      <dgm:prSet presAssocID="{16941BDF-6B2A-4F23-8A31-7FE3050C02B0}" presName="vert2" presStyleCnt="0"/>
      <dgm:spPr/>
    </dgm:pt>
    <dgm:pt modelId="{AAD56D4D-45F3-4C30-A5DC-515783A926A2}" type="pres">
      <dgm:prSet presAssocID="{16941BDF-6B2A-4F23-8A31-7FE3050C02B0}" presName="thinLine2b" presStyleLbl="callout" presStyleIdx="5" presStyleCnt="16"/>
      <dgm:spPr/>
    </dgm:pt>
    <dgm:pt modelId="{CCDC5735-7481-4233-A32C-44182AA1860B}" type="pres">
      <dgm:prSet presAssocID="{16941BDF-6B2A-4F23-8A31-7FE3050C02B0}" presName="vertSpace2b" presStyleCnt="0"/>
      <dgm:spPr/>
    </dgm:pt>
    <dgm:pt modelId="{368A2896-023A-4017-AC08-9F8A6473A230}" type="pres">
      <dgm:prSet presAssocID="{71776D91-FF32-4A2F-A6D1-0CBF3B8F5561}" presName="horz2" presStyleCnt="0"/>
      <dgm:spPr/>
    </dgm:pt>
    <dgm:pt modelId="{C8B26C78-7D69-4A58-9A1C-8C79424CFFFC}" type="pres">
      <dgm:prSet presAssocID="{71776D91-FF32-4A2F-A6D1-0CBF3B8F5561}" presName="horzSpace2" presStyleCnt="0"/>
      <dgm:spPr/>
    </dgm:pt>
    <dgm:pt modelId="{456CD534-1D90-451B-B242-846092421D6D}" type="pres">
      <dgm:prSet presAssocID="{71776D91-FF32-4A2F-A6D1-0CBF3B8F5561}" presName="tx2" presStyleLbl="revTx" presStyleIdx="7" presStyleCnt="17"/>
      <dgm:spPr/>
    </dgm:pt>
    <dgm:pt modelId="{A58D505C-FEF9-441E-90E1-A8B39A2AC4F0}" type="pres">
      <dgm:prSet presAssocID="{71776D91-FF32-4A2F-A6D1-0CBF3B8F5561}" presName="vert2" presStyleCnt="0"/>
      <dgm:spPr/>
    </dgm:pt>
    <dgm:pt modelId="{693615FE-1FE4-4CBB-8BAD-203705657481}" type="pres">
      <dgm:prSet presAssocID="{71776D91-FF32-4A2F-A6D1-0CBF3B8F5561}" presName="thinLine2b" presStyleLbl="callout" presStyleIdx="6" presStyleCnt="16"/>
      <dgm:spPr/>
    </dgm:pt>
    <dgm:pt modelId="{67092582-4A29-43FA-954F-B338651AC4DE}" type="pres">
      <dgm:prSet presAssocID="{71776D91-FF32-4A2F-A6D1-0CBF3B8F5561}" presName="vertSpace2b" presStyleCnt="0"/>
      <dgm:spPr/>
    </dgm:pt>
    <dgm:pt modelId="{B487484B-ABD3-424A-8707-1C5F01680B11}" type="pres">
      <dgm:prSet presAssocID="{0ADBFA6E-18BF-4476-803F-7A8D65F82556}" presName="horz2" presStyleCnt="0"/>
      <dgm:spPr/>
    </dgm:pt>
    <dgm:pt modelId="{DF23F979-C31D-4512-881C-5D28812F6AA4}" type="pres">
      <dgm:prSet presAssocID="{0ADBFA6E-18BF-4476-803F-7A8D65F82556}" presName="horzSpace2" presStyleCnt="0"/>
      <dgm:spPr/>
    </dgm:pt>
    <dgm:pt modelId="{08B1B8DE-E871-497A-9690-037009F5F175}" type="pres">
      <dgm:prSet presAssocID="{0ADBFA6E-18BF-4476-803F-7A8D65F82556}" presName="tx2" presStyleLbl="revTx" presStyleIdx="8" presStyleCnt="17"/>
      <dgm:spPr/>
    </dgm:pt>
    <dgm:pt modelId="{1C703C25-1315-4D9A-9FC1-2CFDBC7E5702}" type="pres">
      <dgm:prSet presAssocID="{0ADBFA6E-18BF-4476-803F-7A8D65F82556}" presName="vert2" presStyleCnt="0"/>
      <dgm:spPr/>
    </dgm:pt>
    <dgm:pt modelId="{5C30380A-8D7B-4250-8217-2CE2C540B2BD}" type="pres">
      <dgm:prSet presAssocID="{0ADBFA6E-18BF-4476-803F-7A8D65F82556}" presName="thinLine2b" presStyleLbl="callout" presStyleIdx="7" presStyleCnt="16"/>
      <dgm:spPr/>
    </dgm:pt>
    <dgm:pt modelId="{A10400E7-0D93-46F1-ADCE-511B0E9D96E3}" type="pres">
      <dgm:prSet presAssocID="{0ADBFA6E-18BF-4476-803F-7A8D65F82556}" presName="vertSpace2b" presStyleCnt="0"/>
      <dgm:spPr/>
    </dgm:pt>
    <dgm:pt modelId="{80DE269E-2F61-4876-A887-80869022EE9A}" type="pres">
      <dgm:prSet presAssocID="{88D65469-1E47-4878-87CA-F49260AB1537}" presName="horz2" presStyleCnt="0"/>
      <dgm:spPr/>
    </dgm:pt>
    <dgm:pt modelId="{981F93BD-B940-407C-A715-12B988DE8616}" type="pres">
      <dgm:prSet presAssocID="{88D65469-1E47-4878-87CA-F49260AB1537}" presName="horzSpace2" presStyleCnt="0"/>
      <dgm:spPr/>
    </dgm:pt>
    <dgm:pt modelId="{1B5D6913-E199-4039-A20B-CA5F4755B9ED}" type="pres">
      <dgm:prSet presAssocID="{88D65469-1E47-4878-87CA-F49260AB1537}" presName="tx2" presStyleLbl="revTx" presStyleIdx="9" presStyleCnt="17"/>
      <dgm:spPr/>
    </dgm:pt>
    <dgm:pt modelId="{B93415AB-1E23-40DA-B49F-2E243F582BA5}" type="pres">
      <dgm:prSet presAssocID="{88D65469-1E47-4878-87CA-F49260AB1537}" presName="vert2" presStyleCnt="0"/>
      <dgm:spPr/>
    </dgm:pt>
    <dgm:pt modelId="{4D870915-B8B4-4591-B866-F361B34BB9C0}" type="pres">
      <dgm:prSet presAssocID="{88D65469-1E47-4878-87CA-F49260AB1537}" presName="thinLine2b" presStyleLbl="callout" presStyleIdx="8" presStyleCnt="16"/>
      <dgm:spPr/>
    </dgm:pt>
    <dgm:pt modelId="{BA64682E-D91F-4B7B-A15E-DA1C8120648B}" type="pres">
      <dgm:prSet presAssocID="{88D65469-1E47-4878-87CA-F49260AB1537}" presName="vertSpace2b" presStyleCnt="0"/>
      <dgm:spPr/>
    </dgm:pt>
    <dgm:pt modelId="{A1F8282D-98DA-4A03-BD85-77FB907A49EC}" type="pres">
      <dgm:prSet presAssocID="{445F2F54-F9B9-464E-9407-346D114C37CC}" presName="horz2" presStyleCnt="0"/>
      <dgm:spPr/>
    </dgm:pt>
    <dgm:pt modelId="{B38B9349-D8FB-4A08-8E32-2D9C5697B792}" type="pres">
      <dgm:prSet presAssocID="{445F2F54-F9B9-464E-9407-346D114C37CC}" presName="horzSpace2" presStyleCnt="0"/>
      <dgm:spPr/>
    </dgm:pt>
    <dgm:pt modelId="{35583A45-9A6D-4A10-A2A6-A8E7EC7172E5}" type="pres">
      <dgm:prSet presAssocID="{445F2F54-F9B9-464E-9407-346D114C37CC}" presName="tx2" presStyleLbl="revTx" presStyleIdx="10" presStyleCnt="17"/>
      <dgm:spPr/>
    </dgm:pt>
    <dgm:pt modelId="{480399E8-BEFE-4CAB-AD93-D07260293A02}" type="pres">
      <dgm:prSet presAssocID="{445F2F54-F9B9-464E-9407-346D114C37CC}" presName="vert2" presStyleCnt="0"/>
      <dgm:spPr/>
    </dgm:pt>
    <dgm:pt modelId="{AC7BB51E-06C6-4833-81A5-41B0038DA01C}" type="pres">
      <dgm:prSet presAssocID="{445F2F54-F9B9-464E-9407-346D114C37CC}" presName="thinLine2b" presStyleLbl="callout" presStyleIdx="9" presStyleCnt="16"/>
      <dgm:spPr/>
    </dgm:pt>
    <dgm:pt modelId="{B22088F7-0255-433F-8811-6E7C095A471A}" type="pres">
      <dgm:prSet presAssocID="{445F2F54-F9B9-464E-9407-346D114C37CC}" presName="vertSpace2b" presStyleCnt="0"/>
      <dgm:spPr/>
    </dgm:pt>
    <dgm:pt modelId="{0361A772-926B-489F-A996-C9609154420F}" type="pres">
      <dgm:prSet presAssocID="{57220EE2-F05C-455C-92D0-F77287161B48}" presName="horz2" presStyleCnt="0"/>
      <dgm:spPr/>
    </dgm:pt>
    <dgm:pt modelId="{F0AE170B-AEB0-44E0-AF77-4D707B1D9D10}" type="pres">
      <dgm:prSet presAssocID="{57220EE2-F05C-455C-92D0-F77287161B48}" presName="horzSpace2" presStyleCnt="0"/>
      <dgm:spPr/>
    </dgm:pt>
    <dgm:pt modelId="{C86F2C1B-2D3B-4879-AE9F-213C70FCB66F}" type="pres">
      <dgm:prSet presAssocID="{57220EE2-F05C-455C-92D0-F77287161B48}" presName="tx2" presStyleLbl="revTx" presStyleIdx="11" presStyleCnt="17"/>
      <dgm:spPr/>
    </dgm:pt>
    <dgm:pt modelId="{BB6C5347-235B-424A-ACC2-4474601A9FF9}" type="pres">
      <dgm:prSet presAssocID="{57220EE2-F05C-455C-92D0-F77287161B48}" presName="vert2" presStyleCnt="0"/>
      <dgm:spPr/>
    </dgm:pt>
    <dgm:pt modelId="{E3DDFE8F-7B87-4A81-B86A-A773EED95464}" type="pres">
      <dgm:prSet presAssocID="{57220EE2-F05C-455C-92D0-F77287161B48}" presName="thinLine2b" presStyleLbl="callout" presStyleIdx="10" presStyleCnt="16"/>
      <dgm:spPr/>
    </dgm:pt>
    <dgm:pt modelId="{32911EC1-6098-4A89-87F3-456466E0338C}" type="pres">
      <dgm:prSet presAssocID="{57220EE2-F05C-455C-92D0-F77287161B48}" presName="vertSpace2b" presStyleCnt="0"/>
      <dgm:spPr/>
    </dgm:pt>
    <dgm:pt modelId="{D9E5B1CA-A00E-4DA7-9F4B-1A03262B9A5B}" type="pres">
      <dgm:prSet presAssocID="{B5D1E8F3-C949-4DCB-8EDF-B8EC8BF02049}" presName="horz2" presStyleCnt="0"/>
      <dgm:spPr/>
    </dgm:pt>
    <dgm:pt modelId="{7DCB0F95-454B-405A-842A-E00B8DF2A6EC}" type="pres">
      <dgm:prSet presAssocID="{B5D1E8F3-C949-4DCB-8EDF-B8EC8BF02049}" presName="horzSpace2" presStyleCnt="0"/>
      <dgm:spPr/>
    </dgm:pt>
    <dgm:pt modelId="{0E4E4016-7E8C-408B-A686-A8E1BCD4506D}" type="pres">
      <dgm:prSet presAssocID="{B5D1E8F3-C949-4DCB-8EDF-B8EC8BF02049}" presName="tx2" presStyleLbl="revTx" presStyleIdx="12" presStyleCnt="17"/>
      <dgm:spPr/>
    </dgm:pt>
    <dgm:pt modelId="{8E19583A-440A-4D6E-A8A2-41FD21E8485D}" type="pres">
      <dgm:prSet presAssocID="{B5D1E8F3-C949-4DCB-8EDF-B8EC8BF02049}" presName="vert2" presStyleCnt="0"/>
      <dgm:spPr/>
    </dgm:pt>
    <dgm:pt modelId="{45EE0D7F-6306-4B79-BAF5-563F5CBC8B64}" type="pres">
      <dgm:prSet presAssocID="{B5D1E8F3-C949-4DCB-8EDF-B8EC8BF02049}" presName="thinLine2b" presStyleLbl="callout" presStyleIdx="11" presStyleCnt="16"/>
      <dgm:spPr/>
    </dgm:pt>
    <dgm:pt modelId="{04654A8D-5C8E-4512-B571-E897F90DA7E0}" type="pres">
      <dgm:prSet presAssocID="{B5D1E8F3-C949-4DCB-8EDF-B8EC8BF02049}" presName="vertSpace2b" presStyleCnt="0"/>
      <dgm:spPr/>
    </dgm:pt>
    <dgm:pt modelId="{8437384F-0A5F-446B-9021-A85A33249FB8}" type="pres">
      <dgm:prSet presAssocID="{78156408-1511-4D46-849D-8138B1CDCD05}" presName="horz2" presStyleCnt="0"/>
      <dgm:spPr/>
    </dgm:pt>
    <dgm:pt modelId="{5EF1AFDA-2430-46B0-B4ED-905D500A3663}" type="pres">
      <dgm:prSet presAssocID="{78156408-1511-4D46-849D-8138B1CDCD05}" presName="horzSpace2" presStyleCnt="0"/>
      <dgm:spPr/>
    </dgm:pt>
    <dgm:pt modelId="{B42C7542-EC28-4D81-8500-63D2F65BF284}" type="pres">
      <dgm:prSet presAssocID="{78156408-1511-4D46-849D-8138B1CDCD05}" presName="tx2" presStyleLbl="revTx" presStyleIdx="13" presStyleCnt="17"/>
      <dgm:spPr/>
    </dgm:pt>
    <dgm:pt modelId="{0AFB59DC-A2F1-40B8-9F04-0D5AAA1DB7F2}" type="pres">
      <dgm:prSet presAssocID="{78156408-1511-4D46-849D-8138B1CDCD05}" presName="vert2" presStyleCnt="0"/>
      <dgm:spPr/>
    </dgm:pt>
    <dgm:pt modelId="{8D22B8BA-B4A0-4183-B08F-28001A2B6636}" type="pres">
      <dgm:prSet presAssocID="{78156408-1511-4D46-849D-8138B1CDCD05}" presName="thinLine2b" presStyleLbl="callout" presStyleIdx="12" presStyleCnt="16"/>
      <dgm:spPr/>
    </dgm:pt>
    <dgm:pt modelId="{6F242872-5467-4C65-AE61-D64FF48A5707}" type="pres">
      <dgm:prSet presAssocID="{78156408-1511-4D46-849D-8138B1CDCD05}" presName="vertSpace2b" presStyleCnt="0"/>
      <dgm:spPr/>
    </dgm:pt>
    <dgm:pt modelId="{CB7E1EB3-28FB-414B-9864-0B86E1B69C23}" type="pres">
      <dgm:prSet presAssocID="{11DC502B-0718-4D2F-A5E9-8EDAC1B76D35}" presName="horz2" presStyleCnt="0"/>
      <dgm:spPr/>
    </dgm:pt>
    <dgm:pt modelId="{5A9188A4-2A62-4B47-A740-7663528D6FE7}" type="pres">
      <dgm:prSet presAssocID="{11DC502B-0718-4D2F-A5E9-8EDAC1B76D35}" presName="horzSpace2" presStyleCnt="0"/>
      <dgm:spPr/>
    </dgm:pt>
    <dgm:pt modelId="{DB64D356-55DD-4D54-8146-C37FFE150EEA}" type="pres">
      <dgm:prSet presAssocID="{11DC502B-0718-4D2F-A5E9-8EDAC1B76D35}" presName="tx2" presStyleLbl="revTx" presStyleIdx="14" presStyleCnt="17"/>
      <dgm:spPr/>
    </dgm:pt>
    <dgm:pt modelId="{C93EF402-E55E-48CA-9305-993459FADA69}" type="pres">
      <dgm:prSet presAssocID="{11DC502B-0718-4D2F-A5E9-8EDAC1B76D35}" presName="vert2" presStyleCnt="0"/>
      <dgm:spPr/>
    </dgm:pt>
    <dgm:pt modelId="{0188A1DD-8A12-4846-825B-A9BD80E610E9}" type="pres">
      <dgm:prSet presAssocID="{11DC502B-0718-4D2F-A5E9-8EDAC1B76D35}" presName="thinLine2b" presStyleLbl="callout" presStyleIdx="13" presStyleCnt="16"/>
      <dgm:spPr/>
    </dgm:pt>
    <dgm:pt modelId="{FF08BA36-B119-4499-BEF6-AF84A0A5824B}" type="pres">
      <dgm:prSet presAssocID="{11DC502B-0718-4D2F-A5E9-8EDAC1B76D35}" presName="vertSpace2b" presStyleCnt="0"/>
      <dgm:spPr/>
    </dgm:pt>
    <dgm:pt modelId="{AC0238CA-68E6-458A-BE52-08129F6BDC69}" type="pres">
      <dgm:prSet presAssocID="{0933F751-5A5F-4F90-A282-1304CECB0A20}" presName="horz2" presStyleCnt="0"/>
      <dgm:spPr/>
    </dgm:pt>
    <dgm:pt modelId="{251B40F5-7C08-4986-B4C2-C2F54A128E2B}" type="pres">
      <dgm:prSet presAssocID="{0933F751-5A5F-4F90-A282-1304CECB0A20}" presName="horzSpace2" presStyleCnt="0"/>
      <dgm:spPr/>
    </dgm:pt>
    <dgm:pt modelId="{65E09B91-D9B3-4395-B3DA-2F44B903E33D}" type="pres">
      <dgm:prSet presAssocID="{0933F751-5A5F-4F90-A282-1304CECB0A20}" presName="tx2" presStyleLbl="revTx" presStyleIdx="15" presStyleCnt="17"/>
      <dgm:spPr/>
    </dgm:pt>
    <dgm:pt modelId="{64FE0328-7ECE-4A41-81FD-92BA09EE0944}" type="pres">
      <dgm:prSet presAssocID="{0933F751-5A5F-4F90-A282-1304CECB0A20}" presName="vert2" presStyleCnt="0"/>
      <dgm:spPr/>
    </dgm:pt>
    <dgm:pt modelId="{CECF0841-54CE-4DFB-95E8-C87BA9CBD1EB}" type="pres">
      <dgm:prSet presAssocID="{0933F751-5A5F-4F90-A282-1304CECB0A20}" presName="thinLine2b" presStyleLbl="callout" presStyleIdx="14" presStyleCnt="16"/>
      <dgm:spPr/>
    </dgm:pt>
    <dgm:pt modelId="{9EFC3F19-E639-423B-92DB-1EB36788E551}" type="pres">
      <dgm:prSet presAssocID="{0933F751-5A5F-4F90-A282-1304CECB0A20}" presName="vertSpace2b" presStyleCnt="0"/>
      <dgm:spPr/>
    </dgm:pt>
    <dgm:pt modelId="{8AD04E3A-F569-4DC0-A756-5EA2DE565310}" type="pres">
      <dgm:prSet presAssocID="{83DFAAB1-9DE1-4C20-B578-670F3120E15D}" presName="horz2" presStyleCnt="0"/>
      <dgm:spPr/>
    </dgm:pt>
    <dgm:pt modelId="{6E3FCD69-3B7E-42C3-A1FD-DBECCEBB1C6E}" type="pres">
      <dgm:prSet presAssocID="{83DFAAB1-9DE1-4C20-B578-670F3120E15D}" presName="horzSpace2" presStyleCnt="0"/>
      <dgm:spPr/>
    </dgm:pt>
    <dgm:pt modelId="{2D35330D-E0B5-4D0E-8A8B-25B4E6666D46}" type="pres">
      <dgm:prSet presAssocID="{83DFAAB1-9DE1-4C20-B578-670F3120E15D}" presName="tx2" presStyleLbl="revTx" presStyleIdx="16" presStyleCnt="17"/>
      <dgm:spPr/>
    </dgm:pt>
    <dgm:pt modelId="{FD9E9281-2B4E-4A69-B276-9BDAA7B57C1C}" type="pres">
      <dgm:prSet presAssocID="{83DFAAB1-9DE1-4C20-B578-670F3120E15D}" presName="vert2" presStyleCnt="0"/>
      <dgm:spPr/>
    </dgm:pt>
    <dgm:pt modelId="{E34AA8E0-28F4-4AD9-A916-75294B6038A1}" type="pres">
      <dgm:prSet presAssocID="{83DFAAB1-9DE1-4C20-B578-670F3120E15D}" presName="thinLine2b" presStyleLbl="callout" presStyleIdx="15" presStyleCnt="16"/>
      <dgm:spPr/>
    </dgm:pt>
    <dgm:pt modelId="{FA6F3BD3-B07D-4554-BF0C-35BAA818B0C8}" type="pres">
      <dgm:prSet presAssocID="{83DFAAB1-9DE1-4C20-B578-670F3120E15D}" presName="vertSpace2b" presStyleCnt="0"/>
      <dgm:spPr/>
    </dgm:pt>
  </dgm:ptLst>
  <dgm:cxnLst>
    <dgm:cxn modelId="{CBC99C03-F723-4267-B5D3-9342247A17B9}" srcId="{311C52F4-E2A6-43BB-8B85-940807987884}" destId="{71776D91-FF32-4A2F-A6D1-0CBF3B8F5561}" srcOrd="6" destOrd="0" parTransId="{8BE79FBA-0BE4-4170-8B54-D79E236BEE37}" sibTransId="{D73BCBC0-033B-412A-AE5B-203F71D7D93E}"/>
    <dgm:cxn modelId="{AD8CA806-3CEF-413D-ACAB-091CEC0ADDA4}" srcId="{95F33173-4810-47E2-834C-D9773AAEE097}" destId="{311C52F4-E2A6-43BB-8B85-940807987884}" srcOrd="0" destOrd="0" parTransId="{E2F706DD-E8A6-4EEB-A8F5-71AEB3805D87}" sibTransId="{1F2626F3-5054-4EBE-9FA4-7E4BF871A7D5}"/>
    <dgm:cxn modelId="{6689021C-F081-4934-8BD0-3B79A156DAD5}" srcId="{311C52F4-E2A6-43BB-8B85-940807987884}" destId="{E3D2925F-CDE0-4C88-97C0-5A59340C8D38}" srcOrd="4" destOrd="0" parTransId="{AFA8365A-FE51-46A3-8578-9FAC618C4991}" sibTransId="{22CCD865-0A93-43E7-A60D-2CB56FCD8A01}"/>
    <dgm:cxn modelId="{C5CC471C-ED7C-46BA-B68D-C5136D34C2E5}" srcId="{311C52F4-E2A6-43BB-8B85-940807987884}" destId="{16941BDF-6B2A-4F23-8A31-7FE3050C02B0}" srcOrd="5" destOrd="0" parTransId="{E2974906-EE98-41F7-8F59-225D6A5D869B}" sibTransId="{5B5EB569-C92B-4480-B122-95CECA9ABEC1}"/>
    <dgm:cxn modelId="{2D3A2624-AB7B-4300-88F5-4B74A8F7E09B}" type="presOf" srcId="{78156408-1511-4D46-849D-8138B1CDCD05}" destId="{B42C7542-EC28-4D81-8500-63D2F65BF284}" srcOrd="0" destOrd="0" presId="urn:microsoft.com/office/officeart/2008/layout/LinedList"/>
    <dgm:cxn modelId="{8F2C1628-6A37-4FE5-BC11-6A62D9279432}" type="presOf" srcId="{BB7DA02E-E517-4EE5-AEA7-A13B379BE4A5}" destId="{ACD230D0-FFF4-4F83-9643-7EA2BC075469}" srcOrd="0" destOrd="0" presId="urn:microsoft.com/office/officeart/2008/layout/LinedList"/>
    <dgm:cxn modelId="{2A240B32-B89D-480C-B361-A0C4E897B310}" srcId="{311C52F4-E2A6-43BB-8B85-940807987884}" destId="{60B3CEAA-6526-4F9F-AFC8-371B6E34BDAB}" srcOrd="0" destOrd="0" parTransId="{C260140B-D5BE-43E6-8FE2-EE7B232E0374}" sibTransId="{8275358D-4CAD-4EE4-AB7B-280B0323EC9A}"/>
    <dgm:cxn modelId="{81980639-8479-456B-AEC9-013AD6881534}" type="presOf" srcId="{88D65469-1E47-4878-87CA-F49260AB1537}" destId="{1B5D6913-E199-4039-A20B-CA5F4755B9ED}" srcOrd="0" destOrd="0" presId="urn:microsoft.com/office/officeart/2008/layout/LinedList"/>
    <dgm:cxn modelId="{38D5B046-1252-4872-B797-C465A0063CBA}" type="presOf" srcId="{0933F751-5A5F-4F90-A282-1304CECB0A20}" destId="{65E09B91-D9B3-4395-B3DA-2F44B903E33D}" srcOrd="0" destOrd="0" presId="urn:microsoft.com/office/officeart/2008/layout/LinedList"/>
    <dgm:cxn modelId="{9D5C1148-DA1C-41BF-B2D1-A4CB184B80AF}" srcId="{311C52F4-E2A6-43BB-8B85-940807987884}" destId="{78156408-1511-4D46-849D-8138B1CDCD05}" srcOrd="12" destOrd="0" parTransId="{C942E23E-20AD-4EA3-A7DF-66BEFB142269}" sibTransId="{937321A8-7FEC-4FA4-9B29-E6EB7ABD308B}"/>
    <dgm:cxn modelId="{92E4384E-C108-4450-BC3E-7BAB04FE8A25}" type="presOf" srcId="{499280DE-C97D-40E5-93DF-503509814596}" destId="{BE46E154-A1A8-41F1-8E54-1EE6C27C18E4}" srcOrd="0" destOrd="0" presId="urn:microsoft.com/office/officeart/2008/layout/LinedList"/>
    <dgm:cxn modelId="{6980F64E-A28C-4374-861F-B06F8861EEF6}" srcId="{311C52F4-E2A6-43BB-8B85-940807987884}" destId="{88D65469-1E47-4878-87CA-F49260AB1537}" srcOrd="8" destOrd="0" parTransId="{E8DF206F-B217-4A7F-ABD0-EE0C67009FE3}" sibTransId="{8BE31E64-9014-400E-9B11-4E4C3C032997}"/>
    <dgm:cxn modelId="{B38F524F-F6BD-4D8C-8B25-E2ADBD42C47C}" type="presOf" srcId="{60B3CEAA-6526-4F9F-AFC8-371B6E34BDAB}" destId="{AC089D7D-CF93-4FD2-BA9F-1EED0D953510}" srcOrd="0" destOrd="0" presId="urn:microsoft.com/office/officeart/2008/layout/LinedList"/>
    <dgm:cxn modelId="{F0A5BB7D-9336-4D16-B7C2-27FFAD5882EF}" type="presOf" srcId="{311C52F4-E2A6-43BB-8B85-940807987884}" destId="{90C38840-F6DA-4B15-BF7D-AF57FD138F64}" srcOrd="0" destOrd="0" presId="urn:microsoft.com/office/officeart/2008/layout/LinedList"/>
    <dgm:cxn modelId="{213D8180-E66D-4EB3-9A89-113C493DEDB0}" type="presOf" srcId="{71776D91-FF32-4A2F-A6D1-0CBF3B8F5561}" destId="{456CD534-1D90-451B-B242-846092421D6D}" srcOrd="0" destOrd="0" presId="urn:microsoft.com/office/officeart/2008/layout/LinedList"/>
    <dgm:cxn modelId="{8B94B687-5DAE-4A25-B3B7-EB0C526769C3}" srcId="{311C52F4-E2A6-43BB-8B85-940807987884}" destId="{445F2F54-F9B9-464E-9407-346D114C37CC}" srcOrd="9" destOrd="0" parTransId="{AC9735AF-6708-4FDF-964F-CFE0E5B375EE}" sibTransId="{DB43E4BE-6040-4C33-9001-4A018B49E24F}"/>
    <dgm:cxn modelId="{DBEDA788-430E-4F34-829A-423AD1C54628}" srcId="{311C52F4-E2A6-43BB-8B85-940807987884}" destId="{B5D1E8F3-C949-4DCB-8EDF-B8EC8BF02049}" srcOrd="11" destOrd="0" parTransId="{9FCCCA2D-E38C-4445-BB1F-F357AFB66F08}" sibTransId="{90069487-E724-42E2-B681-E2DA2039EDC8}"/>
    <dgm:cxn modelId="{507AB98F-E1F9-49BB-906F-BA187EF6AF93}" srcId="{311C52F4-E2A6-43BB-8B85-940807987884}" destId="{0ADBFA6E-18BF-4476-803F-7A8D65F82556}" srcOrd="7" destOrd="0" parTransId="{9A3E56EA-51FB-444D-A7A7-9C450B769342}" sibTransId="{0036E42C-01B5-43AC-A409-766B5F8D9FF7}"/>
    <dgm:cxn modelId="{F32F57A0-5D3B-43CF-B50C-08169C73904F}" type="presOf" srcId="{57220EE2-F05C-455C-92D0-F77287161B48}" destId="{C86F2C1B-2D3B-4879-AE9F-213C70FCB66F}" srcOrd="0" destOrd="0" presId="urn:microsoft.com/office/officeart/2008/layout/LinedList"/>
    <dgm:cxn modelId="{CD2550AE-2128-4DE0-8B75-E0AFF2993C36}" type="presOf" srcId="{904C8F1F-D6CA-46B2-983D-6A2E351D43C7}" destId="{BF82B72D-A957-43F3-92BB-B010F16E3D36}" srcOrd="0" destOrd="0" presId="urn:microsoft.com/office/officeart/2008/layout/LinedList"/>
    <dgm:cxn modelId="{06DDECAE-414E-48C3-9D67-8F5D5EE91701}" srcId="{311C52F4-E2A6-43BB-8B85-940807987884}" destId="{BB7DA02E-E517-4EE5-AEA7-A13B379BE4A5}" srcOrd="1" destOrd="0" parTransId="{1466A4FA-3A3D-485A-ABDA-8B4E9FA2C2E1}" sibTransId="{498AED54-0111-4909-90B9-C672646F664D}"/>
    <dgm:cxn modelId="{14A010B8-7EFA-43BD-A84C-ABA77F7B1E03}" type="presOf" srcId="{11DC502B-0718-4D2F-A5E9-8EDAC1B76D35}" destId="{DB64D356-55DD-4D54-8146-C37FFE150EEA}" srcOrd="0" destOrd="0" presId="urn:microsoft.com/office/officeart/2008/layout/LinedList"/>
    <dgm:cxn modelId="{599E11BC-CC65-4AC2-A5D8-D02227029C65}" srcId="{311C52F4-E2A6-43BB-8B85-940807987884}" destId="{57220EE2-F05C-455C-92D0-F77287161B48}" srcOrd="10" destOrd="0" parTransId="{8AEFE465-986F-4DEF-BF0E-4A3F44AA9BC3}" sibTransId="{C30DA572-0F45-4661-8B7D-75A835311809}"/>
    <dgm:cxn modelId="{586F79BD-7444-4723-AC45-DDD5DC3C1FC9}" srcId="{311C52F4-E2A6-43BB-8B85-940807987884}" destId="{83DFAAB1-9DE1-4C20-B578-670F3120E15D}" srcOrd="15" destOrd="0" parTransId="{587A9CC3-677E-4899-96D2-1D84670A35DA}" sibTransId="{A2560A8C-0BC4-48D1-9312-49677D61FC24}"/>
    <dgm:cxn modelId="{C24EBBBD-51D0-4EB8-9DCC-49AD49C4FAC4}" srcId="{311C52F4-E2A6-43BB-8B85-940807987884}" destId="{904C8F1F-D6CA-46B2-983D-6A2E351D43C7}" srcOrd="2" destOrd="0" parTransId="{F9F1BF08-0718-49F2-9008-132A4616C980}" sibTransId="{8E4EAE57-D7BE-4FAA-AE64-BAD8CC9F42C8}"/>
    <dgm:cxn modelId="{FC7B3DD8-CF24-4F4C-9BE3-A8F55067A9C9}" type="presOf" srcId="{16941BDF-6B2A-4F23-8A31-7FE3050C02B0}" destId="{A57C2110-462D-472D-BA17-3F97043017A8}" srcOrd="0" destOrd="0" presId="urn:microsoft.com/office/officeart/2008/layout/LinedList"/>
    <dgm:cxn modelId="{74578FDC-E39C-4DEE-8018-68645BB145AD}" type="presOf" srcId="{E3D2925F-CDE0-4C88-97C0-5A59340C8D38}" destId="{A266113C-D01C-454F-B608-24A614AA1CA5}" srcOrd="0" destOrd="0" presId="urn:microsoft.com/office/officeart/2008/layout/LinedList"/>
    <dgm:cxn modelId="{96E5E4E1-D6EF-44DC-9C8A-1A666A2C951D}" type="presOf" srcId="{445F2F54-F9B9-464E-9407-346D114C37CC}" destId="{35583A45-9A6D-4A10-A2A6-A8E7EC7172E5}" srcOrd="0" destOrd="0" presId="urn:microsoft.com/office/officeart/2008/layout/LinedList"/>
    <dgm:cxn modelId="{279EC6EF-D3CA-466A-B9B8-9E651862A54B}" type="presOf" srcId="{95F33173-4810-47E2-834C-D9773AAEE097}" destId="{A76AB44F-4232-4A9B-AEBF-85B83C1CC9E1}" srcOrd="0" destOrd="0" presId="urn:microsoft.com/office/officeart/2008/layout/LinedList"/>
    <dgm:cxn modelId="{F8C45BF1-6013-43BE-ADF0-A0DACAA22C85}" srcId="{311C52F4-E2A6-43BB-8B85-940807987884}" destId="{499280DE-C97D-40E5-93DF-503509814596}" srcOrd="3" destOrd="0" parTransId="{2216FD49-1709-4277-843A-AE83DA5306D9}" sibTransId="{C1473B3E-E0AE-4CD9-8887-B9ABFD54BED9}"/>
    <dgm:cxn modelId="{4390A4F6-D42F-4D71-8FC9-665C292C8555}" srcId="{311C52F4-E2A6-43BB-8B85-940807987884}" destId="{11DC502B-0718-4D2F-A5E9-8EDAC1B76D35}" srcOrd="13" destOrd="0" parTransId="{5AEE2A2E-D6A6-4209-9150-DF0CE5966CEC}" sibTransId="{DE6C9287-BDEB-4E78-A72F-AAA7E3D2DAD0}"/>
    <dgm:cxn modelId="{91A8F4F6-63FD-48C1-8C17-C1AAF95819E0}" type="presOf" srcId="{B5D1E8F3-C949-4DCB-8EDF-B8EC8BF02049}" destId="{0E4E4016-7E8C-408B-A686-A8E1BCD4506D}" srcOrd="0" destOrd="0" presId="urn:microsoft.com/office/officeart/2008/layout/LinedList"/>
    <dgm:cxn modelId="{B9F6BFF7-975B-4071-BC41-52888D18243D}" type="presOf" srcId="{83DFAAB1-9DE1-4C20-B578-670F3120E15D}" destId="{2D35330D-E0B5-4D0E-8A8B-25B4E6666D46}" srcOrd="0" destOrd="0" presId="urn:microsoft.com/office/officeart/2008/layout/LinedList"/>
    <dgm:cxn modelId="{BCB382F8-DFE2-4DF7-89B3-C6342E676E31}" srcId="{311C52F4-E2A6-43BB-8B85-940807987884}" destId="{0933F751-5A5F-4F90-A282-1304CECB0A20}" srcOrd="14" destOrd="0" parTransId="{863B13C7-72E7-40FB-A7D1-1C6E065EBF1D}" sibTransId="{F48A6CAC-82FC-46AF-9B67-87F7B98D24B2}"/>
    <dgm:cxn modelId="{B7E4F9FB-8B08-4697-9FB5-0120B112DDF4}" type="presOf" srcId="{0ADBFA6E-18BF-4476-803F-7A8D65F82556}" destId="{08B1B8DE-E871-497A-9690-037009F5F175}" srcOrd="0" destOrd="0" presId="urn:microsoft.com/office/officeart/2008/layout/LinedList"/>
    <dgm:cxn modelId="{B884F153-410A-4B01-8B0C-584FAFC93B70}" type="presParOf" srcId="{A76AB44F-4232-4A9B-AEBF-85B83C1CC9E1}" destId="{AEDA5F68-DB38-4CBB-85E6-7C7C9768F978}" srcOrd="0" destOrd="0" presId="urn:microsoft.com/office/officeart/2008/layout/LinedList"/>
    <dgm:cxn modelId="{03454406-9492-4B51-82AC-44D193AB7ED3}" type="presParOf" srcId="{A76AB44F-4232-4A9B-AEBF-85B83C1CC9E1}" destId="{03A2C246-2D08-49D1-B4F6-5DBD027F0D11}" srcOrd="1" destOrd="0" presId="urn:microsoft.com/office/officeart/2008/layout/LinedList"/>
    <dgm:cxn modelId="{022E5678-41EE-4695-9DA5-5A9EDDFC29E4}" type="presParOf" srcId="{03A2C246-2D08-49D1-B4F6-5DBD027F0D11}" destId="{90C38840-F6DA-4B15-BF7D-AF57FD138F64}" srcOrd="0" destOrd="0" presId="urn:microsoft.com/office/officeart/2008/layout/LinedList"/>
    <dgm:cxn modelId="{0A47188F-FBB6-4FF6-9567-6AEC13ADB9F8}" type="presParOf" srcId="{03A2C246-2D08-49D1-B4F6-5DBD027F0D11}" destId="{31BCD210-338C-448F-BBA4-5CB0E93FAB76}" srcOrd="1" destOrd="0" presId="urn:microsoft.com/office/officeart/2008/layout/LinedList"/>
    <dgm:cxn modelId="{458A764F-29F8-489C-8D93-F3F16545E92F}" type="presParOf" srcId="{31BCD210-338C-448F-BBA4-5CB0E93FAB76}" destId="{70B5DD39-F0E6-4CCD-A976-9336E6EDA19B}" srcOrd="0" destOrd="0" presId="urn:microsoft.com/office/officeart/2008/layout/LinedList"/>
    <dgm:cxn modelId="{D6E053A1-B004-4586-A867-AAFFD837BD78}" type="presParOf" srcId="{31BCD210-338C-448F-BBA4-5CB0E93FAB76}" destId="{0296FAA2-AE4C-45CC-B57B-8F72A58ADA85}" srcOrd="1" destOrd="0" presId="urn:microsoft.com/office/officeart/2008/layout/LinedList"/>
    <dgm:cxn modelId="{539223C0-5B16-41D2-8FEC-C735518F3F6D}" type="presParOf" srcId="{0296FAA2-AE4C-45CC-B57B-8F72A58ADA85}" destId="{7AACAC38-353A-45A2-A6F4-AB83EBD72D04}" srcOrd="0" destOrd="0" presId="urn:microsoft.com/office/officeart/2008/layout/LinedList"/>
    <dgm:cxn modelId="{121F2519-4EC0-428B-B261-F1435C3B3E9D}" type="presParOf" srcId="{0296FAA2-AE4C-45CC-B57B-8F72A58ADA85}" destId="{AC089D7D-CF93-4FD2-BA9F-1EED0D953510}" srcOrd="1" destOrd="0" presId="urn:microsoft.com/office/officeart/2008/layout/LinedList"/>
    <dgm:cxn modelId="{348A9D89-9070-4D1F-AE41-9AC86F24C017}" type="presParOf" srcId="{0296FAA2-AE4C-45CC-B57B-8F72A58ADA85}" destId="{5928A09A-52C2-4FCA-819D-3E354B694261}" srcOrd="2" destOrd="0" presId="urn:microsoft.com/office/officeart/2008/layout/LinedList"/>
    <dgm:cxn modelId="{3AE3BBB9-C6F6-4DF3-AB6B-3B25D8A949A5}" type="presParOf" srcId="{31BCD210-338C-448F-BBA4-5CB0E93FAB76}" destId="{A32CE9FA-C2CB-4C6B-9FAE-461A308FEF09}" srcOrd="2" destOrd="0" presId="urn:microsoft.com/office/officeart/2008/layout/LinedList"/>
    <dgm:cxn modelId="{860B8E21-CD15-45E4-B33A-2D5687863F35}" type="presParOf" srcId="{31BCD210-338C-448F-BBA4-5CB0E93FAB76}" destId="{E21BB954-3E77-4FA9-93A8-84FE98208B32}" srcOrd="3" destOrd="0" presId="urn:microsoft.com/office/officeart/2008/layout/LinedList"/>
    <dgm:cxn modelId="{3572ECC3-D947-4997-AB53-2CEF2AF75A4A}" type="presParOf" srcId="{31BCD210-338C-448F-BBA4-5CB0E93FAB76}" destId="{190981D1-B1C9-40B1-8AAC-5502C48ACFE8}" srcOrd="4" destOrd="0" presId="urn:microsoft.com/office/officeart/2008/layout/LinedList"/>
    <dgm:cxn modelId="{D336C9FA-F111-41F1-A559-22173C237498}" type="presParOf" srcId="{190981D1-B1C9-40B1-8AAC-5502C48ACFE8}" destId="{73287DA4-4908-4E8B-A9FE-08BE2D0805DF}" srcOrd="0" destOrd="0" presId="urn:microsoft.com/office/officeart/2008/layout/LinedList"/>
    <dgm:cxn modelId="{8AA7A40E-FA58-41A6-B35B-E35CD3DD5C52}" type="presParOf" srcId="{190981D1-B1C9-40B1-8AAC-5502C48ACFE8}" destId="{ACD230D0-FFF4-4F83-9643-7EA2BC075469}" srcOrd="1" destOrd="0" presId="urn:microsoft.com/office/officeart/2008/layout/LinedList"/>
    <dgm:cxn modelId="{1E1AF8CD-36B9-4E85-AC8F-006956833FE6}" type="presParOf" srcId="{190981D1-B1C9-40B1-8AAC-5502C48ACFE8}" destId="{A61784A7-BE43-4615-B446-070B34878E46}" srcOrd="2" destOrd="0" presId="urn:microsoft.com/office/officeart/2008/layout/LinedList"/>
    <dgm:cxn modelId="{D1D29DAB-DB79-4CB7-B012-6E7003473E51}" type="presParOf" srcId="{31BCD210-338C-448F-BBA4-5CB0E93FAB76}" destId="{75B164C9-7B3F-4CAA-8BDE-8B04E56E05B1}" srcOrd="5" destOrd="0" presId="urn:microsoft.com/office/officeart/2008/layout/LinedList"/>
    <dgm:cxn modelId="{D46DCE02-68B0-46AC-95F0-0CB470AAF820}" type="presParOf" srcId="{31BCD210-338C-448F-BBA4-5CB0E93FAB76}" destId="{29C174D5-A046-4462-8037-C660B5C7CDE8}" srcOrd="6" destOrd="0" presId="urn:microsoft.com/office/officeart/2008/layout/LinedList"/>
    <dgm:cxn modelId="{2AAF3D37-2394-4C21-802F-F7A688DC9A8C}" type="presParOf" srcId="{31BCD210-338C-448F-BBA4-5CB0E93FAB76}" destId="{470DBE40-1B9B-4809-8AB0-471EAF9EE1DD}" srcOrd="7" destOrd="0" presId="urn:microsoft.com/office/officeart/2008/layout/LinedList"/>
    <dgm:cxn modelId="{549E5272-19F3-42FB-8FBC-478063F6F38E}" type="presParOf" srcId="{470DBE40-1B9B-4809-8AB0-471EAF9EE1DD}" destId="{74678753-528A-42C9-B59F-EF2DCAB13559}" srcOrd="0" destOrd="0" presId="urn:microsoft.com/office/officeart/2008/layout/LinedList"/>
    <dgm:cxn modelId="{68EB81E6-4AF4-4858-8D63-0D574E841D01}" type="presParOf" srcId="{470DBE40-1B9B-4809-8AB0-471EAF9EE1DD}" destId="{BF82B72D-A957-43F3-92BB-B010F16E3D36}" srcOrd="1" destOrd="0" presId="urn:microsoft.com/office/officeart/2008/layout/LinedList"/>
    <dgm:cxn modelId="{0C8C649A-13B7-417E-AC79-1C488AA04599}" type="presParOf" srcId="{470DBE40-1B9B-4809-8AB0-471EAF9EE1DD}" destId="{D1400BFD-46E1-4B38-BF30-533F19201A0A}" srcOrd="2" destOrd="0" presId="urn:microsoft.com/office/officeart/2008/layout/LinedList"/>
    <dgm:cxn modelId="{BB3F8C30-9F7F-4B31-AAA1-B6D86E2948BB}" type="presParOf" srcId="{31BCD210-338C-448F-BBA4-5CB0E93FAB76}" destId="{6352B019-5E33-4940-B043-FACB9F821A15}" srcOrd="8" destOrd="0" presId="urn:microsoft.com/office/officeart/2008/layout/LinedList"/>
    <dgm:cxn modelId="{600D5545-75D7-4A9C-99DE-078A318D7E29}" type="presParOf" srcId="{31BCD210-338C-448F-BBA4-5CB0E93FAB76}" destId="{D4C42D89-83E7-4AA4-9131-84FFC8583035}" srcOrd="9" destOrd="0" presId="urn:microsoft.com/office/officeart/2008/layout/LinedList"/>
    <dgm:cxn modelId="{15C64758-A91E-47DE-8DFB-C49BAEC8B588}" type="presParOf" srcId="{31BCD210-338C-448F-BBA4-5CB0E93FAB76}" destId="{4238EEC5-5830-4134-916B-028923DF85EE}" srcOrd="10" destOrd="0" presId="urn:microsoft.com/office/officeart/2008/layout/LinedList"/>
    <dgm:cxn modelId="{780D2C51-D9BB-4CDB-B7EE-585DB03BDFF7}" type="presParOf" srcId="{4238EEC5-5830-4134-916B-028923DF85EE}" destId="{8D981AEC-9055-492C-9C9B-7087535D1221}" srcOrd="0" destOrd="0" presId="urn:microsoft.com/office/officeart/2008/layout/LinedList"/>
    <dgm:cxn modelId="{B7633111-710C-47B8-9E31-8046D48C7258}" type="presParOf" srcId="{4238EEC5-5830-4134-916B-028923DF85EE}" destId="{BE46E154-A1A8-41F1-8E54-1EE6C27C18E4}" srcOrd="1" destOrd="0" presId="urn:microsoft.com/office/officeart/2008/layout/LinedList"/>
    <dgm:cxn modelId="{EF9F3732-66AE-4D78-A5F5-7E8F1A992F1D}" type="presParOf" srcId="{4238EEC5-5830-4134-916B-028923DF85EE}" destId="{944D918B-A0EA-4A4F-A48E-FEBD7554B6C4}" srcOrd="2" destOrd="0" presId="urn:microsoft.com/office/officeart/2008/layout/LinedList"/>
    <dgm:cxn modelId="{F1743CBB-47C9-4184-A1BB-84CF10ABCDFF}" type="presParOf" srcId="{31BCD210-338C-448F-BBA4-5CB0E93FAB76}" destId="{29FB5101-C34E-434D-B584-27B03120ED35}" srcOrd="11" destOrd="0" presId="urn:microsoft.com/office/officeart/2008/layout/LinedList"/>
    <dgm:cxn modelId="{29E0A087-6F31-4061-8D25-C7088520C0EE}" type="presParOf" srcId="{31BCD210-338C-448F-BBA4-5CB0E93FAB76}" destId="{C1FC5466-C847-408B-8819-2258E5EE9365}" srcOrd="12" destOrd="0" presId="urn:microsoft.com/office/officeart/2008/layout/LinedList"/>
    <dgm:cxn modelId="{7748730C-6215-4D62-A2FA-42241C469DA1}" type="presParOf" srcId="{31BCD210-338C-448F-BBA4-5CB0E93FAB76}" destId="{2683529D-715D-4910-AA72-A06A180D83D5}" srcOrd="13" destOrd="0" presId="urn:microsoft.com/office/officeart/2008/layout/LinedList"/>
    <dgm:cxn modelId="{7179D63D-DEFD-4F0A-B844-BA1B68269394}" type="presParOf" srcId="{2683529D-715D-4910-AA72-A06A180D83D5}" destId="{ED694447-ABBF-43C8-A275-ED4AC80C6653}" srcOrd="0" destOrd="0" presId="urn:microsoft.com/office/officeart/2008/layout/LinedList"/>
    <dgm:cxn modelId="{63B88F0A-7B64-40A6-A6AD-9CDC66A8F494}" type="presParOf" srcId="{2683529D-715D-4910-AA72-A06A180D83D5}" destId="{A266113C-D01C-454F-B608-24A614AA1CA5}" srcOrd="1" destOrd="0" presId="urn:microsoft.com/office/officeart/2008/layout/LinedList"/>
    <dgm:cxn modelId="{8E2F8B2A-B2C3-4262-A90A-C52F7328609B}" type="presParOf" srcId="{2683529D-715D-4910-AA72-A06A180D83D5}" destId="{2A3F5676-F1BB-43FD-9A1C-37438C0FCCFD}" srcOrd="2" destOrd="0" presId="urn:microsoft.com/office/officeart/2008/layout/LinedList"/>
    <dgm:cxn modelId="{689734E3-F026-4A9E-A2AC-6852E40EE201}" type="presParOf" srcId="{31BCD210-338C-448F-BBA4-5CB0E93FAB76}" destId="{7FE41DAE-B5DD-4A95-8B67-9E6839C8C95E}" srcOrd="14" destOrd="0" presId="urn:microsoft.com/office/officeart/2008/layout/LinedList"/>
    <dgm:cxn modelId="{E8794212-1F36-4BCB-9A3F-579BAFA6E476}" type="presParOf" srcId="{31BCD210-338C-448F-BBA4-5CB0E93FAB76}" destId="{9C65A940-77E2-495F-BB59-CF15ED04ADB8}" srcOrd="15" destOrd="0" presId="urn:microsoft.com/office/officeart/2008/layout/LinedList"/>
    <dgm:cxn modelId="{E6912DFD-B20C-44D2-B11D-AF099CB7EB6E}" type="presParOf" srcId="{31BCD210-338C-448F-BBA4-5CB0E93FAB76}" destId="{50E79312-A549-445A-86F4-8066C6156B2C}" srcOrd="16" destOrd="0" presId="urn:microsoft.com/office/officeart/2008/layout/LinedList"/>
    <dgm:cxn modelId="{1A1640C5-6818-4C84-A74E-459041BF1CBD}" type="presParOf" srcId="{50E79312-A549-445A-86F4-8066C6156B2C}" destId="{1C6F8C43-8EC9-488E-BDB6-41E7C2E34C01}" srcOrd="0" destOrd="0" presId="urn:microsoft.com/office/officeart/2008/layout/LinedList"/>
    <dgm:cxn modelId="{71128051-80F0-46CF-8250-BF1F36C9526D}" type="presParOf" srcId="{50E79312-A549-445A-86F4-8066C6156B2C}" destId="{A57C2110-462D-472D-BA17-3F97043017A8}" srcOrd="1" destOrd="0" presId="urn:microsoft.com/office/officeart/2008/layout/LinedList"/>
    <dgm:cxn modelId="{6193A0A8-BF4E-49FD-8526-184297D911F9}" type="presParOf" srcId="{50E79312-A549-445A-86F4-8066C6156B2C}" destId="{C434FB3B-F1AA-4798-BC4D-6D15FCBB0E68}" srcOrd="2" destOrd="0" presId="urn:microsoft.com/office/officeart/2008/layout/LinedList"/>
    <dgm:cxn modelId="{4F8CC773-909B-4E76-85C0-7E956DB0515B}" type="presParOf" srcId="{31BCD210-338C-448F-BBA4-5CB0E93FAB76}" destId="{AAD56D4D-45F3-4C30-A5DC-515783A926A2}" srcOrd="17" destOrd="0" presId="urn:microsoft.com/office/officeart/2008/layout/LinedList"/>
    <dgm:cxn modelId="{8D3196FF-5791-4E30-A747-67FFF0401827}" type="presParOf" srcId="{31BCD210-338C-448F-BBA4-5CB0E93FAB76}" destId="{CCDC5735-7481-4233-A32C-44182AA1860B}" srcOrd="18" destOrd="0" presId="urn:microsoft.com/office/officeart/2008/layout/LinedList"/>
    <dgm:cxn modelId="{BF01DCDD-CAA0-4536-9B8D-9E3AA8C78703}" type="presParOf" srcId="{31BCD210-338C-448F-BBA4-5CB0E93FAB76}" destId="{368A2896-023A-4017-AC08-9F8A6473A230}" srcOrd="19" destOrd="0" presId="urn:microsoft.com/office/officeart/2008/layout/LinedList"/>
    <dgm:cxn modelId="{8C23AB33-141B-493A-9BA8-FF3181DAC952}" type="presParOf" srcId="{368A2896-023A-4017-AC08-9F8A6473A230}" destId="{C8B26C78-7D69-4A58-9A1C-8C79424CFFFC}" srcOrd="0" destOrd="0" presId="urn:microsoft.com/office/officeart/2008/layout/LinedList"/>
    <dgm:cxn modelId="{1BE9F578-1E21-4D3D-80C7-BBF3A8A01F3B}" type="presParOf" srcId="{368A2896-023A-4017-AC08-9F8A6473A230}" destId="{456CD534-1D90-451B-B242-846092421D6D}" srcOrd="1" destOrd="0" presId="urn:microsoft.com/office/officeart/2008/layout/LinedList"/>
    <dgm:cxn modelId="{9A64FA40-2241-4548-99CD-B0640CE610A4}" type="presParOf" srcId="{368A2896-023A-4017-AC08-9F8A6473A230}" destId="{A58D505C-FEF9-441E-90E1-A8B39A2AC4F0}" srcOrd="2" destOrd="0" presId="urn:microsoft.com/office/officeart/2008/layout/LinedList"/>
    <dgm:cxn modelId="{FA447D64-B461-45C2-9CC3-64FE7C9CE853}" type="presParOf" srcId="{31BCD210-338C-448F-BBA4-5CB0E93FAB76}" destId="{693615FE-1FE4-4CBB-8BAD-203705657481}" srcOrd="20" destOrd="0" presId="urn:microsoft.com/office/officeart/2008/layout/LinedList"/>
    <dgm:cxn modelId="{E69C4910-221E-412F-9D41-0A22DA9D1543}" type="presParOf" srcId="{31BCD210-338C-448F-BBA4-5CB0E93FAB76}" destId="{67092582-4A29-43FA-954F-B338651AC4DE}" srcOrd="21" destOrd="0" presId="urn:microsoft.com/office/officeart/2008/layout/LinedList"/>
    <dgm:cxn modelId="{06E60850-A9DB-415E-BDD9-31C166F3B669}" type="presParOf" srcId="{31BCD210-338C-448F-BBA4-5CB0E93FAB76}" destId="{B487484B-ABD3-424A-8707-1C5F01680B11}" srcOrd="22" destOrd="0" presId="urn:microsoft.com/office/officeart/2008/layout/LinedList"/>
    <dgm:cxn modelId="{0104D935-A924-4590-90E6-0C3733BB03F6}" type="presParOf" srcId="{B487484B-ABD3-424A-8707-1C5F01680B11}" destId="{DF23F979-C31D-4512-881C-5D28812F6AA4}" srcOrd="0" destOrd="0" presId="urn:microsoft.com/office/officeart/2008/layout/LinedList"/>
    <dgm:cxn modelId="{19BDCDBB-0FA7-4111-8567-4C3F2A1BBF83}" type="presParOf" srcId="{B487484B-ABD3-424A-8707-1C5F01680B11}" destId="{08B1B8DE-E871-497A-9690-037009F5F175}" srcOrd="1" destOrd="0" presId="urn:microsoft.com/office/officeart/2008/layout/LinedList"/>
    <dgm:cxn modelId="{E03B034E-5FC1-4BDD-974F-5F2D9729AC86}" type="presParOf" srcId="{B487484B-ABD3-424A-8707-1C5F01680B11}" destId="{1C703C25-1315-4D9A-9FC1-2CFDBC7E5702}" srcOrd="2" destOrd="0" presId="urn:microsoft.com/office/officeart/2008/layout/LinedList"/>
    <dgm:cxn modelId="{E61D0465-772C-4252-8473-74B7C8A9E9E1}" type="presParOf" srcId="{31BCD210-338C-448F-BBA4-5CB0E93FAB76}" destId="{5C30380A-8D7B-4250-8217-2CE2C540B2BD}" srcOrd="23" destOrd="0" presId="urn:microsoft.com/office/officeart/2008/layout/LinedList"/>
    <dgm:cxn modelId="{FE5E77BF-C758-48F8-919B-B3E27E7D05F8}" type="presParOf" srcId="{31BCD210-338C-448F-BBA4-5CB0E93FAB76}" destId="{A10400E7-0D93-46F1-ADCE-511B0E9D96E3}" srcOrd="24" destOrd="0" presId="urn:microsoft.com/office/officeart/2008/layout/LinedList"/>
    <dgm:cxn modelId="{204F37EC-3B40-49C4-AC1D-B5A99FB27920}" type="presParOf" srcId="{31BCD210-338C-448F-BBA4-5CB0E93FAB76}" destId="{80DE269E-2F61-4876-A887-80869022EE9A}" srcOrd="25" destOrd="0" presId="urn:microsoft.com/office/officeart/2008/layout/LinedList"/>
    <dgm:cxn modelId="{6F9550FC-888D-4037-8F4B-40CE02E2C524}" type="presParOf" srcId="{80DE269E-2F61-4876-A887-80869022EE9A}" destId="{981F93BD-B940-407C-A715-12B988DE8616}" srcOrd="0" destOrd="0" presId="urn:microsoft.com/office/officeart/2008/layout/LinedList"/>
    <dgm:cxn modelId="{6F6CA856-DA68-4F9C-9AAF-546008A26505}" type="presParOf" srcId="{80DE269E-2F61-4876-A887-80869022EE9A}" destId="{1B5D6913-E199-4039-A20B-CA5F4755B9ED}" srcOrd="1" destOrd="0" presId="urn:microsoft.com/office/officeart/2008/layout/LinedList"/>
    <dgm:cxn modelId="{4DEEFE6F-F48C-4724-A3B0-AB367FC5122D}" type="presParOf" srcId="{80DE269E-2F61-4876-A887-80869022EE9A}" destId="{B93415AB-1E23-40DA-B49F-2E243F582BA5}" srcOrd="2" destOrd="0" presId="urn:microsoft.com/office/officeart/2008/layout/LinedList"/>
    <dgm:cxn modelId="{E76BBCBA-04FD-40F8-9FB2-7042D84E418C}" type="presParOf" srcId="{31BCD210-338C-448F-BBA4-5CB0E93FAB76}" destId="{4D870915-B8B4-4591-B866-F361B34BB9C0}" srcOrd="26" destOrd="0" presId="urn:microsoft.com/office/officeart/2008/layout/LinedList"/>
    <dgm:cxn modelId="{DE0C6B34-A23A-45F9-9755-26E4F15A609D}" type="presParOf" srcId="{31BCD210-338C-448F-BBA4-5CB0E93FAB76}" destId="{BA64682E-D91F-4B7B-A15E-DA1C8120648B}" srcOrd="27" destOrd="0" presId="urn:microsoft.com/office/officeart/2008/layout/LinedList"/>
    <dgm:cxn modelId="{1DCDDD88-3D52-4539-9B15-038F5446FD83}" type="presParOf" srcId="{31BCD210-338C-448F-BBA4-5CB0E93FAB76}" destId="{A1F8282D-98DA-4A03-BD85-77FB907A49EC}" srcOrd="28" destOrd="0" presId="urn:microsoft.com/office/officeart/2008/layout/LinedList"/>
    <dgm:cxn modelId="{54E319CB-D771-4DBD-9772-239F673B6A72}" type="presParOf" srcId="{A1F8282D-98DA-4A03-BD85-77FB907A49EC}" destId="{B38B9349-D8FB-4A08-8E32-2D9C5697B792}" srcOrd="0" destOrd="0" presId="urn:microsoft.com/office/officeart/2008/layout/LinedList"/>
    <dgm:cxn modelId="{C556E543-5622-409D-8318-91F3A8DD6EDA}" type="presParOf" srcId="{A1F8282D-98DA-4A03-BD85-77FB907A49EC}" destId="{35583A45-9A6D-4A10-A2A6-A8E7EC7172E5}" srcOrd="1" destOrd="0" presId="urn:microsoft.com/office/officeart/2008/layout/LinedList"/>
    <dgm:cxn modelId="{54D82000-90EC-4DFD-ADC5-C04C38AA45EB}" type="presParOf" srcId="{A1F8282D-98DA-4A03-BD85-77FB907A49EC}" destId="{480399E8-BEFE-4CAB-AD93-D07260293A02}" srcOrd="2" destOrd="0" presId="urn:microsoft.com/office/officeart/2008/layout/LinedList"/>
    <dgm:cxn modelId="{55D2C8E4-95D8-44CB-914B-9322E7764594}" type="presParOf" srcId="{31BCD210-338C-448F-BBA4-5CB0E93FAB76}" destId="{AC7BB51E-06C6-4833-81A5-41B0038DA01C}" srcOrd="29" destOrd="0" presId="urn:microsoft.com/office/officeart/2008/layout/LinedList"/>
    <dgm:cxn modelId="{E9EFCB25-A0F9-4309-9ABC-5AD260D9A20B}" type="presParOf" srcId="{31BCD210-338C-448F-BBA4-5CB0E93FAB76}" destId="{B22088F7-0255-433F-8811-6E7C095A471A}" srcOrd="30" destOrd="0" presId="urn:microsoft.com/office/officeart/2008/layout/LinedList"/>
    <dgm:cxn modelId="{4AEA5F2C-9251-4FF5-995F-FE81357EA734}" type="presParOf" srcId="{31BCD210-338C-448F-BBA4-5CB0E93FAB76}" destId="{0361A772-926B-489F-A996-C9609154420F}" srcOrd="31" destOrd="0" presId="urn:microsoft.com/office/officeart/2008/layout/LinedList"/>
    <dgm:cxn modelId="{B5C25270-7112-485D-9BF0-C7F2C717C452}" type="presParOf" srcId="{0361A772-926B-489F-A996-C9609154420F}" destId="{F0AE170B-AEB0-44E0-AF77-4D707B1D9D10}" srcOrd="0" destOrd="0" presId="urn:microsoft.com/office/officeart/2008/layout/LinedList"/>
    <dgm:cxn modelId="{D6CB4BD9-20D2-4253-912D-838B678BF9C9}" type="presParOf" srcId="{0361A772-926B-489F-A996-C9609154420F}" destId="{C86F2C1B-2D3B-4879-AE9F-213C70FCB66F}" srcOrd="1" destOrd="0" presId="urn:microsoft.com/office/officeart/2008/layout/LinedList"/>
    <dgm:cxn modelId="{6A8613BA-B789-49BA-843E-CC60B9D75343}" type="presParOf" srcId="{0361A772-926B-489F-A996-C9609154420F}" destId="{BB6C5347-235B-424A-ACC2-4474601A9FF9}" srcOrd="2" destOrd="0" presId="urn:microsoft.com/office/officeart/2008/layout/LinedList"/>
    <dgm:cxn modelId="{881BE8A1-F994-4981-B9CE-43C6DDB68B0E}" type="presParOf" srcId="{31BCD210-338C-448F-BBA4-5CB0E93FAB76}" destId="{E3DDFE8F-7B87-4A81-B86A-A773EED95464}" srcOrd="32" destOrd="0" presId="urn:microsoft.com/office/officeart/2008/layout/LinedList"/>
    <dgm:cxn modelId="{1AA3E503-5315-450C-9EC0-ADE7E08FDF31}" type="presParOf" srcId="{31BCD210-338C-448F-BBA4-5CB0E93FAB76}" destId="{32911EC1-6098-4A89-87F3-456466E0338C}" srcOrd="33" destOrd="0" presId="urn:microsoft.com/office/officeart/2008/layout/LinedList"/>
    <dgm:cxn modelId="{C9BEBDFA-1BB1-49D6-97C3-3C1FC972F901}" type="presParOf" srcId="{31BCD210-338C-448F-BBA4-5CB0E93FAB76}" destId="{D9E5B1CA-A00E-4DA7-9F4B-1A03262B9A5B}" srcOrd="34" destOrd="0" presId="urn:microsoft.com/office/officeart/2008/layout/LinedList"/>
    <dgm:cxn modelId="{EDE86C42-5E78-47FF-BF99-3257464A6800}" type="presParOf" srcId="{D9E5B1CA-A00E-4DA7-9F4B-1A03262B9A5B}" destId="{7DCB0F95-454B-405A-842A-E00B8DF2A6EC}" srcOrd="0" destOrd="0" presId="urn:microsoft.com/office/officeart/2008/layout/LinedList"/>
    <dgm:cxn modelId="{DEEF5285-03DD-440D-9F5E-1E4B315EE483}" type="presParOf" srcId="{D9E5B1CA-A00E-4DA7-9F4B-1A03262B9A5B}" destId="{0E4E4016-7E8C-408B-A686-A8E1BCD4506D}" srcOrd="1" destOrd="0" presId="urn:microsoft.com/office/officeart/2008/layout/LinedList"/>
    <dgm:cxn modelId="{B81A657B-3BF0-4F83-BF3A-C8D2EE37B264}" type="presParOf" srcId="{D9E5B1CA-A00E-4DA7-9F4B-1A03262B9A5B}" destId="{8E19583A-440A-4D6E-A8A2-41FD21E8485D}" srcOrd="2" destOrd="0" presId="urn:microsoft.com/office/officeart/2008/layout/LinedList"/>
    <dgm:cxn modelId="{8101EAE8-3155-490A-BF74-6FB9CD65A2EE}" type="presParOf" srcId="{31BCD210-338C-448F-BBA4-5CB0E93FAB76}" destId="{45EE0D7F-6306-4B79-BAF5-563F5CBC8B64}" srcOrd="35" destOrd="0" presId="urn:microsoft.com/office/officeart/2008/layout/LinedList"/>
    <dgm:cxn modelId="{ED5BEFEF-3416-4AFF-8581-CB9AF6425A9E}" type="presParOf" srcId="{31BCD210-338C-448F-BBA4-5CB0E93FAB76}" destId="{04654A8D-5C8E-4512-B571-E897F90DA7E0}" srcOrd="36" destOrd="0" presId="urn:microsoft.com/office/officeart/2008/layout/LinedList"/>
    <dgm:cxn modelId="{3E8AE3D7-EEE2-4CD2-99C7-420DA7F7E498}" type="presParOf" srcId="{31BCD210-338C-448F-BBA4-5CB0E93FAB76}" destId="{8437384F-0A5F-446B-9021-A85A33249FB8}" srcOrd="37" destOrd="0" presId="urn:microsoft.com/office/officeart/2008/layout/LinedList"/>
    <dgm:cxn modelId="{B5BCA2F2-D069-4EFF-A2A7-93F1776AE360}" type="presParOf" srcId="{8437384F-0A5F-446B-9021-A85A33249FB8}" destId="{5EF1AFDA-2430-46B0-B4ED-905D500A3663}" srcOrd="0" destOrd="0" presId="urn:microsoft.com/office/officeart/2008/layout/LinedList"/>
    <dgm:cxn modelId="{22357B46-FC47-4316-A5D4-63DBA41A096B}" type="presParOf" srcId="{8437384F-0A5F-446B-9021-A85A33249FB8}" destId="{B42C7542-EC28-4D81-8500-63D2F65BF284}" srcOrd="1" destOrd="0" presId="urn:microsoft.com/office/officeart/2008/layout/LinedList"/>
    <dgm:cxn modelId="{06738BB9-2D60-4FC2-87F7-60BF60B55118}" type="presParOf" srcId="{8437384F-0A5F-446B-9021-A85A33249FB8}" destId="{0AFB59DC-A2F1-40B8-9F04-0D5AAA1DB7F2}" srcOrd="2" destOrd="0" presId="urn:microsoft.com/office/officeart/2008/layout/LinedList"/>
    <dgm:cxn modelId="{185BD9DF-F1E5-492B-9199-8017CBFBF15F}" type="presParOf" srcId="{31BCD210-338C-448F-BBA4-5CB0E93FAB76}" destId="{8D22B8BA-B4A0-4183-B08F-28001A2B6636}" srcOrd="38" destOrd="0" presId="urn:microsoft.com/office/officeart/2008/layout/LinedList"/>
    <dgm:cxn modelId="{44ADBAE9-FF85-4078-AAB1-365E0A845269}" type="presParOf" srcId="{31BCD210-338C-448F-BBA4-5CB0E93FAB76}" destId="{6F242872-5467-4C65-AE61-D64FF48A5707}" srcOrd="39" destOrd="0" presId="urn:microsoft.com/office/officeart/2008/layout/LinedList"/>
    <dgm:cxn modelId="{B0905D7B-53C7-4AA3-A72A-6E74DD27A973}" type="presParOf" srcId="{31BCD210-338C-448F-BBA4-5CB0E93FAB76}" destId="{CB7E1EB3-28FB-414B-9864-0B86E1B69C23}" srcOrd="40" destOrd="0" presId="urn:microsoft.com/office/officeart/2008/layout/LinedList"/>
    <dgm:cxn modelId="{EA6E1384-20AB-4F4F-90D5-AE9808DD539D}" type="presParOf" srcId="{CB7E1EB3-28FB-414B-9864-0B86E1B69C23}" destId="{5A9188A4-2A62-4B47-A740-7663528D6FE7}" srcOrd="0" destOrd="0" presId="urn:microsoft.com/office/officeart/2008/layout/LinedList"/>
    <dgm:cxn modelId="{5715232F-3308-49C8-9935-1806B372807F}" type="presParOf" srcId="{CB7E1EB3-28FB-414B-9864-0B86E1B69C23}" destId="{DB64D356-55DD-4D54-8146-C37FFE150EEA}" srcOrd="1" destOrd="0" presId="urn:microsoft.com/office/officeart/2008/layout/LinedList"/>
    <dgm:cxn modelId="{06345892-A8FB-4086-8B17-C168F8091319}" type="presParOf" srcId="{CB7E1EB3-28FB-414B-9864-0B86E1B69C23}" destId="{C93EF402-E55E-48CA-9305-993459FADA69}" srcOrd="2" destOrd="0" presId="urn:microsoft.com/office/officeart/2008/layout/LinedList"/>
    <dgm:cxn modelId="{01DCF1B8-895B-466C-9B6B-9A7A7234FFC2}" type="presParOf" srcId="{31BCD210-338C-448F-BBA4-5CB0E93FAB76}" destId="{0188A1DD-8A12-4846-825B-A9BD80E610E9}" srcOrd="41" destOrd="0" presId="urn:microsoft.com/office/officeart/2008/layout/LinedList"/>
    <dgm:cxn modelId="{D5DCF68F-FE64-467C-AE02-4973CEF10029}" type="presParOf" srcId="{31BCD210-338C-448F-BBA4-5CB0E93FAB76}" destId="{FF08BA36-B119-4499-BEF6-AF84A0A5824B}" srcOrd="42" destOrd="0" presId="urn:microsoft.com/office/officeart/2008/layout/LinedList"/>
    <dgm:cxn modelId="{9000D2BD-9ACB-4E0C-9378-D91D3FDD90A5}" type="presParOf" srcId="{31BCD210-338C-448F-BBA4-5CB0E93FAB76}" destId="{AC0238CA-68E6-458A-BE52-08129F6BDC69}" srcOrd="43" destOrd="0" presId="urn:microsoft.com/office/officeart/2008/layout/LinedList"/>
    <dgm:cxn modelId="{F77B9502-20ED-4A56-BD38-7733EED6F6EB}" type="presParOf" srcId="{AC0238CA-68E6-458A-BE52-08129F6BDC69}" destId="{251B40F5-7C08-4986-B4C2-C2F54A128E2B}" srcOrd="0" destOrd="0" presId="urn:microsoft.com/office/officeart/2008/layout/LinedList"/>
    <dgm:cxn modelId="{B052D8C4-C53C-4B66-B7A2-0C27FCCFF0B9}" type="presParOf" srcId="{AC0238CA-68E6-458A-BE52-08129F6BDC69}" destId="{65E09B91-D9B3-4395-B3DA-2F44B903E33D}" srcOrd="1" destOrd="0" presId="urn:microsoft.com/office/officeart/2008/layout/LinedList"/>
    <dgm:cxn modelId="{DCCBC2DE-54A1-45D0-8716-FB948150AE56}" type="presParOf" srcId="{AC0238CA-68E6-458A-BE52-08129F6BDC69}" destId="{64FE0328-7ECE-4A41-81FD-92BA09EE0944}" srcOrd="2" destOrd="0" presId="urn:microsoft.com/office/officeart/2008/layout/LinedList"/>
    <dgm:cxn modelId="{4C042B9A-AEB0-4E72-92DF-0B26C9EC1C11}" type="presParOf" srcId="{31BCD210-338C-448F-BBA4-5CB0E93FAB76}" destId="{CECF0841-54CE-4DFB-95E8-C87BA9CBD1EB}" srcOrd="44" destOrd="0" presId="urn:microsoft.com/office/officeart/2008/layout/LinedList"/>
    <dgm:cxn modelId="{07D5872A-C28B-4B79-86EC-756EF5636CCC}" type="presParOf" srcId="{31BCD210-338C-448F-BBA4-5CB0E93FAB76}" destId="{9EFC3F19-E639-423B-92DB-1EB36788E551}" srcOrd="45" destOrd="0" presId="urn:microsoft.com/office/officeart/2008/layout/LinedList"/>
    <dgm:cxn modelId="{66EB6931-A5C3-42DB-A15D-DF5AA356D87D}" type="presParOf" srcId="{31BCD210-338C-448F-BBA4-5CB0E93FAB76}" destId="{8AD04E3A-F569-4DC0-A756-5EA2DE565310}" srcOrd="46" destOrd="0" presId="urn:microsoft.com/office/officeart/2008/layout/LinedList"/>
    <dgm:cxn modelId="{23475707-F513-454E-A4AB-9D33AEAA6776}" type="presParOf" srcId="{8AD04E3A-F569-4DC0-A756-5EA2DE565310}" destId="{6E3FCD69-3B7E-42C3-A1FD-DBECCEBB1C6E}" srcOrd="0" destOrd="0" presId="urn:microsoft.com/office/officeart/2008/layout/LinedList"/>
    <dgm:cxn modelId="{F42240F0-9428-44FB-B9BF-71756DBA9797}" type="presParOf" srcId="{8AD04E3A-F569-4DC0-A756-5EA2DE565310}" destId="{2D35330D-E0B5-4D0E-8A8B-25B4E6666D46}" srcOrd="1" destOrd="0" presId="urn:microsoft.com/office/officeart/2008/layout/LinedList"/>
    <dgm:cxn modelId="{1D4AAE6C-238C-488A-9D31-F54BF590D7FF}" type="presParOf" srcId="{8AD04E3A-F569-4DC0-A756-5EA2DE565310}" destId="{FD9E9281-2B4E-4A69-B276-9BDAA7B57C1C}" srcOrd="2" destOrd="0" presId="urn:microsoft.com/office/officeart/2008/layout/LinedList"/>
    <dgm:cxn modelId="{1FF52B98-1B68-4791-AC4B-4BE3D9150B19}" type="presParOf" srcId="{31BCD210-338C-448F-BBA4-5CB0E93FAB76}" destId="{E34AA8E0-28F4-4AD9-A916-75294B6038A1}" srcOrd="47" destOrd="0" presId="urn:microsoft.com/office/officeart/2008/layout/LinedList"/>
    <dgm:cxn modelId="{CC980DF4-E130-4BC5-8829-C4938845069C}" type="presParOf" srcId="{31BCD210-338C-448F-BBA4-5CB0E93FAB76}" destId="{FA6F3BD3-B07D-4554-BF0C-35BAA818B0C8}" srcOrd="48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C13ED3-D3A0-4315-9D5D-85BABA27B016}">
      <dsp:nvSpPr>
        <dsp:cNvPr id="0" name=""/>
        <dsp:cNvSpPr/>
      </dsp:nvSpPr>
      <dsp:spPr>
        <a:xfrm>
          <a:off x="0" y="0"/>
          <a:ext cx="2858513" cy="0"/>
        </a:xfrm>
        <a:prstGeom prst="line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A71D56-85DF-4D54-9B21-A3D3F455259B}">
      <dsp:nvSpPr>
        <dsp:cNvPr id="0" name=""/>
        <dsp:cNvSpPr/>
      </dsp:nvSpPr>
      <dsp:spPr>
        <a:xfrm>
          <a:off x="0" y="0"/>
          <a:ext cx="1123802" cy="26532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2"/>
              </a:solidFill>
            </a:rPr>
            <a:t>Data Types Supported</a:t>
          </a:r>
        </a:p>
      </dsp:txBody>
      <dsp:txXfrm>
        <a:off x="0" y="0"/>
        <a:ext cx="1123802" cy="2653218"/>
      </dsp:txXfrm>
    </dsp:sp>
    <dsp:sp modelId="{F74AB7C3-C0CE-42A8-ADCD-E354E108D765}">
      <dsp:nvSpPr>
        <dsp:cNvPr id="0" name=""/>
        <dsp:cNvSpPr/>
      </dsp:nvSpPr>
      <dsp:spPr>
        <a:xfrm>
          <a:off x="1156296" y="31189"/>
          <a:ext cx="1652424" cy="623791"/>
        </a:xfrm>
        <a:prstGeom prst="borderCallout2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Boolean</a:t>
          </a:r>
        </a:p>
      </dsp:txBody>
      <dsp:txXfrm>
        <a:off x="1156296" y="31189"/>
        <a:ext cx="1652424" cy="623791"/>
      </dsp:txXfrm>
    </dsp:sp>
    <dsp:sp modelId="{169FBE19-E715-439E-AEA0-F69EAD6D0374}">
      <dsp:nvSpPr>
        <dsp:cNvPr id="0" name=""/>
        <dsp:cNvSpPr/>
      </dsp:nvSpPr>
      <dsp:spPr>
        <a:xfrm>
          <a:off x="1123802" y="654980"/>
          <a:ext cx="1732973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98FA18-6FD4-4F43-8879-7E667836F0B2}">
      <dsp:nvSpPr>
        <dsp:cNvPr id="0" name=""/>
        <dsp:cNvSpPr/>
      </dsp:nvSpPr>
      <dsp:spPr>
        <a:xfrm>
          <a:off x="1156296" y="686170"/>
          <a:ext cx="1652424" cy="6237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Integer</a:t>
          </a:r>
        </a:p>
      </dsp:txBody>
      <dsp:txXfrm>
        <a:off x="1156296" y="686170"/>
        <a:ext cx="1652424" cy="623791"/>
      </dsp:txXfrm>
    </dsp:sp>
    <dsp:sp modelId="{18BC2190-48FF-48B9-9C3F-5331CFE4C0E1}">
      <dsp:nvSpPr>
        <dsp:cNvPr id="0" name=""/>
        <dsp:cNvSpPr/>
      </dsp:nvSpPr>
      <dsp:spPr>
        <a:xfrm>
          <a:off x="1123802" y="1309961"/>
          <a:ext cx="1732973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ED0FCB-A21F-4819-891A-27814A2F2B73}">
      <dsp:nvSpPr>
        <dsp:cNvPr id="0" name=""/>
        <dsp:cNvSpPr/>
      </dsp:nvSpPr>
      <dsp:spPr>
        <a:xfrm>
          <a:off x="1156296" y="1341151"/>
          <a:ext cx="1652424" cy="6237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Float</a:t>
          </a:r>
        </a:p>
      </dsp:txBody>
      <dsp:txXfrm>
        <a:off x="1156296" y="1341151"/>
        <a:ext cx="1652424" cy="623791"/>
      </dsp:txXfrm>
    </dsp:sp>
    <dsp:sp modelId="{F0EBC1F2-5A41-4D12-9455-7A5C54330513}">
      <dsp:nvSpPr>
        <dsp:cNvPr id="0" name=""/>
        <dsp:cNvSpPr/>
      </dsp:nvSpPr>
      <dsp:spPr>
        <a:xfrm>
          <a:off x="1123802" y="1964942"/>
          <a:ext cx="1732973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AD6F35A-ED80-46BA-A77B-3FB906F59183}">
      <dsp:nvSpPr>
        <dsp:cNvPr id="0" name=""/>
        <dsp:cNvSpPr/>
      </dsp:nvSpPr>
      <dsp:spPr>
        <a:xfrm>
          <a:off x="1156296" y="1996131"/>
          <a:ext cx="1652424" cy="6237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Long</a:t>
          </a:r>
        </a:p>
      </dsp:txBody>
      <dsp:txXfrm>
        <a:off x="1156296" y="1996131"/>
        <a:ext cx="1652424" cy="623791"/>
      </dsp:txXfrm>
    </dsp:sp>
    <dsp:sp modelId="{449DB954-DAAE-429F-84F9-21EB5265CA96}">
      <dsp:nvSpPr>
        <dsp:cNvPr id="0" name=""/>
        <dsp:cNvSpPr/>
      </dsp:nvSpPr>
      <dsp:spPr>
        <a:xfrm>
          <a:off x="1123802" y="2619923"/>
          <a:ext cx="1732973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DA5F68-DB38-4CBB-85E6-7C7C9768F978}">
      <dsp:nvSpPr>
        <dsp:cNvPr id="0" name=""/>
        <dsp:cNvSpPr/>
      </dsp:nvSpPr>
      <dsp:spPr>
        <a:xfrm>
          <a:off x="0" y="0"/>
          <a:ext cx="2533545" cy="0"/>
        </a:xfrm>
        <a:prstGeom prst="line">
          <a:avLst/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C38840-F6DA-4B15-BF7D-AF57FD138F64}">
      <dsp:nvSpPr>
        <dsp:cNvPr id="0" name=""/>
        <dsp:cNvSpPr/>
      </dsp:nvSpPr>
      <dsp:spPr>
        <a:xfrm>
          <a:off x="0" y="0"/>
          <a:ext cx="1431032" cy="29829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2"/>
              </a:solidFill>
              <a:latin typeface="Lato" panose="020F0502020204030203" pitchFamily="34" charset="0"/>
            </a:rPr>
            <a:t>Data Types Supported</a:t>
          </a:r>
        </a:p>
      </dsp:txBody>
      <dsp:txXfrm>
        <a:off x="0" y="0"/>
        <a:ext cx="1431032" cy="2982978"/>
      </dsp:txXfrm>
    </dsp:sp>
    <dsp:sp modelId="{AC089D7D-CF93-4FD2-BA9F-1EED0D953510}">
      <dsp:nvSpPr>
        <dsp:cNvPr id="0" name=""/>
        <dsp:cNvSpPr/>
      </dsp:nvSpPr>
      <dsp:spPr>
        <a:xfrm>
          <a:off x="1451667" y="8848"/>
          <a:ext cx="107987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latin typeface="Lato" panose="020F0502020204030203" pitchFamily="34" charset="0"/>
            </a:rPr>
            <a:t>Boolean</a:t>
          </a:r>
        </a:p>
      </dsp:txBody>
      <dsp:txXfrm>
        <a:off x="1451667" y="8848"/>
        <a:ext cx="1079874" cy="176968"/>
      </dsp:txXfrm>
    </dsp:sp>
    <dsp:sp modelId="{A32CE9FA-C2CB-4C6B-9FAE-461A308FEF09}">
      <dsp:nvSpPr>
        <dsp:cNvPr id="0" name=""/>
        <dsp:cNvSpPr/>
      </dsp:nvSpPr>
      <dsp:spPr>
        <a:xfrm>
          <a:off x="1431032" y="185817"/>
          <a:ext cx="110050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D230D0-FFF4-4F83-9643-7EA2BC075469}">
      <dsp:nvSpPr>
        <dsp:cNvPr id="0" name=""/>
        <dsp:cNvSpPr/>
      </dsp:nvSpPr>
      <dsp:spPr>
        <a:xfrm>
          <a:off x="1451667" y="194665"/>
          <a:ext cx="107987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latin typeface="Lato" panose="020F0502020204030203" pitchFamily="34" charset="0"/>
            </a:rPr>
            <a:t>SINT</a:t>
          </a:r>
        </a:p>
      </dsp:txBody>
      <dsp:txXfrm>
        <a:off x="1451667" y="194665"/>
        <a:ext cx="1079874" cy="176968"/>
      </dsp:txXfrm>
    </dsp:sp>
    <dsp:sp modelId="{75B164C9-7B3F-4CAA-8BDE-8B04E56E05B1}">
      <dsp:nvSpPr>
        <dsp:cNvPr id="0" name=""/>
        <dsp:cNvSpPr/>
      </dsp:nvSpPr>
      <dsp:spPr>
        <a:xfrm>
          <a:off x="1431032" y="371634"/>
          <a:ext cx="110050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82B72D-A957-43F3-92BB-B010F16E3D36}">
      <dsp:nvSpPr>
        <dsp:cNvPr id="0" name=""/>
        <dsp:cNvSpPr/>
      </dsp:nvSpPr>
      <dsp:spPr>
        <a:xfrm>
          <a:off x="1451667" y="380482"/>
          <a:ext cx="107987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latin typeface="Lato" panose="020F0502020204030203" pitchFamily="34" charset="0"/>
            </a:rPr>
            <a:t>USINT</a:t>
          </a:r>
        </a:p>
      </dsp:txBody>
      <dsp:txXfrm>
        <a:off x="1451667" y="380482"/>
        <a:ext cx="1079874" cy="176968"/>
      </dsp:txXfrm>
    </dsp:sp>
    <dsp:sp modelId="{6352B019-5E33-4940-B043-FACB9F821A15}">
      <dsp:nvSpPr>
        <dsp:cNvPr id="0" name=""/>
        <dsp:cNvSpPr/>
      </dsp:nvSpPr>
      <dsp:spPr>
        <a:xfrm>
          <a:off x="1431032" y="557451"/>
          <a:ext cx="110050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46E154-A1A8-41F1-8E54-1EE6C27C18E4}">
      <dsp:nvSpPr>
        <dsp:cNvPr id="0" name=""/>
        <dsp:cNvSpPr/>
      </dsp:nvSpPr>
      <dsp:spPr>
        <a:xfrm>
          <a:off x="1451667" y="566299"/>
          <a:ext cx="107987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latin typeface="Lato" panose="020F0502020204030203" pitchFamily="34" charset="0"/>
            </a:rPr>
            <a:t>BYTE</a:t>
          </a:r>
        </a:p>
      </dsp:txBody>
      <dsp:txXfrm>
        <a:off x="1451667" y="566299"/>
        <a:ext cx="1079874" cy="176968"/>
      </dsp:txXfrm>
    </dsp:sp>
    <dsp:sp modelId="{29FB5101-C34E-434D-B584-27B03120ED35}">
      <dsp:nvSpPr>
        <dsp:cNvPr id="0" name=""/>
        <dsp:cNvSpPr/>
      </dsp:nvSpPr>
      <dsp:spPr>
        <a:xfrm>
          <a:off x="1431032" y="743268"/>
          <a:ext cx="110050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66113C-D01C-454F-B608-24A614AA1CA5}">
      <dsp:nvSpPr>
        <dsp:cNvPr id="0" name=""/>
        <dsp:cNvSpPr/>
      </dsp:nvSpPr>
      <dsp:spPr>
        <a:xfrm>
          <a:off x="1451667" y="752116"/>
          <a:ext cx="107987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latin typeface="Lato" panose="020F0502020204030203" pitchFamily="34" charset="0"/>
            </a:rPr>
            <a:t>INT</a:t>
          </a:r>
        </a:p>
      </dsp:txBody>
      <dsp:txXfrm>
        <a:off x="1451667" y="752116"/>
        <a:ext cx="1079874" cy="176968"/>
      </dsp:txXfrm>
    </dsp:sp>
    <dsp:sp modelId="{7FE41DAE-B5DD-4A95-8B67-9E6839C8C95E}">
      <dsp:nvSpPr>
        <dsp:cNvPr id="0" name=""/>
        <dsp:cNvSpPr/>
      </dsp:nvSpPr>
      <dsp:spPr>
        <a:xfrm>
          <a:off x="1431032" y="929085"/>
          <a:ext cx="110050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7C2110-462D-472D-BA17-3F97043017A8}">
      <dsp:nvSpPr>
        <dsp:cNvPr id="0" name=""/>
        <dsp:cNvSpPr/>
      </dsp:nvSpPr>
      <dsp:spPr>
        <a:xfrm>
          <a:off x="1451667" y="937933"/>
          <a:ext cx="107987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latin typeface="Lato" panose="020F0502020204030203" pitchFamily="34" charset="0"/>
            </a:rPr>
            <a:t>UINT</a:t>
          </a:r>
        </a:p>
      </dsp:txBody>
      <dsp:txXfrm>
        <a:off x="1451667" y="937933"/>
        <a:ext cx="1079874" cy="176968"/>
      </dsp:txXfrm>
    </dsp:sp>
    <dsp:sp modelId="{AAD56D4D-45F3-4C30-A5DC-515783A926A2}">
      <dsp:nvSpPr>
        <dsp:cNvPr id="0" name=""/>
        <dsp:cNvSpPr/>
      </dsp:nvSpPr>
      <dsp:spPr>
        <a:xfrm>
          <a:off x="1431032" y="1114902"/>
          <a:ext cx="110050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6CD534-1D90-451B-B242-846092421D6D}">
      <dsp:nvSpPr>
        <dsp:cNvPr id="0" name=""/>
        <dsp:cNvSpPr/>
      </dsp:nvSpPr>
      <dsp:spPr>
        <a:xfrm>
          <a:off x="1451667" y="1123751"/>
          <a:ext cx="107987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latin typeface="Lato" panose="020F0502020204030203" pitchFamily="34" charset="0"/>
            </a:rPr>
            <a:t>WORD</a:t>
          </a:r>
        </a:p>
      </dsp:txBody>
      <dsp:txXfrm>
        <a:off x="1451667" y="1123751"/>
        <a:ext cx="1079874" cy="176968"/>
      </dsp:txXfrm>
    </dsp:sp>
    <dsp:sp modelId="{693615FE-1FE4-4CBB-8BAD-203705657481}">
      <dsp:nvSpPr>
        <dsp:cNvPr id="0" name=""/>
        <dsp:cNvSpPr/>
      </dsp:nvSpPr>
      <dsp:spPr>
        <a:xfrm>
          <a:off x="1431032" y="1300719"/>
          <a:ext cx="110050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B1B8DE-E871-497A-9690-037009F5F175}">
      <dsp:nvSpPr>
        <dsp:cNvPr id="0" name=""/>
        <dsp:cNvSpPr/>
      </dsp:nvSpPr>
      <dsp:spPr>
        <a:xfrm>
          <a:off x="1451667" y="1309568"/>
          <a:ext cx="107987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latin typeface="Lato" panose="020F0502020204030203" pitchFamily="34" charset="0"/>
            </a:rPr>
            <a:t>DINT</a:t>
          </a:r>
        </a:p>
      </dsp:txBody>
      <dsp:txXfrm>
        <a:off x="1451667" y="1309568"/>
        <a:ext cx="1079874" cy="176968"/>
      </dsp:txXfrm>
    </dsp:sp>
    <dsp:sp modelId="{5C30380A-8D7B-4250-8217-2CE2C540B2BD}">
      <dsp:nvSpPr>
        <dsp:cNvPr id="0" name=""/>
        <dsp:cNvSpPr/>
      </dsp:nvSpPr>
      <dsp:spPr>
        <a:xfrm>
          <a:off x="1431032" y="1486536"/>
          <a:ext cx="110050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5D6913-E199-4039-A20B-CA5F4755B9ED}">
      <dsp:nvSpPr>
        <dsp:cNvPr id="0" name=""/>
        <dsp:cNvSpPr/>
      </dsp:nvSpPr>
      <dsp:spPr>
        <a:xfrm>
          <a:off x="1451667" y="1495385"/>
          <a:ext cx="107987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latin typeface="Lato" panose="020F0502020204030203" pitchFamily="34" charset="0"/>
            </a:rPr>
            <a:t>DWORD</a:t>
          </a:r>
        </a:p>
      </dsp:txBody>
      <dsp:txXfrm>
        <a:off x="1451667" y="1495385"/>
        <a:ext cx="1079874" cy="176968"/>
      </dsp:txXfrm>
    </dsp:sp>
    <dsp:sp modelId="{4D870915-B8B4-4591-B866-F361B34BB9C0}">
      <dsp:nvSpPr>
        <dsp:cNvPr id="0" name=""/>
        <dsp:cNvSpPr/>
      </dsp:nvSpPr>
      <dsp:spPr>
        <a:xfrm>
          <a:off x="1431032" y="1672353"/>
          <a:ext cx="110050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583A45-9A6D-4A10-A2A6-A8E7EC7172E5}">
      <dsp:nvSpPr>
        <dsp:cNvPr id="0" name=""/>
        <dsp:cNvSpPr/>
      </dsp:nvSpPr>
      <dsp:spPr>
        <a:xfrm>
          <a:off x="1451667" y="1681202"/>
          <a:ext cx="107987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latin typeface="Lato" panose="020F0502020204030203" pitchFamily="34" charset="0"/>
            </a:rPr>
            <a:t>LINT</a:t>
          </a:r>
        </a:p>
      </dsp:txBody>
      <dsp:txXfrm>
        <a:off x="1451667" y="1681202"/>
        <a:ext cx="1079874" cy="176968"/>
      </dsp:txXfrm>
    </dsp:sp>
    <dsp:sp modelId="{AC7BB51E-06C6-4833-81A5-41B0038DA01C}">
      <dsp:nvSpPr>
        <dsp:cNvPr id="0" name=""/>
        <dsp:cNvSpPr/>
      </dsp:nvSpPr>
      <dsp:spPr>
        <a:xfrm>
          <a:off x="1431032" y="1858170"/>
          <a:ext cx="110050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6F2C1B-2D3B-4879-AE9F-213C70FCB66F}">
      <dsp:nvSpPr>
        <dsp:cNvPr id="0" name=""/>
        <dsp:cNvSpPr/>
      </dsp:nvSpPr>
      <dsp:spPr>
        <a:xfrm>
          <a:off x="1451667" y="1867019"/>
          <a:ext cx="107987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latin typeface="Lato" panose="020F0502020204030203" pitchFamily="34" charset="0"/>
            </a:rPr>
            <a:t>ULINT</a:t>
          </a:r>
        </a:p>
      </dsp:txBody>
      <dsp:txXfrm>
        <a:off x="1451667" y="1867019"/>
        <a:ext cx="1079874" cy="176968"/>
      </dsp:txXfrm>
    </dsp:sp>
    <dsp:sp modelId="{E3DDFE8F-7B87-4A81-B86A-A773EED95464}">
      <dsp:nvSpPr>
        <dsp:cNvPr id="0" name=""/>
        <dsp:cNvSpPr/>
      </dsp:nvSpPr>
      <dsp:spPr>
        <a:xfrm>
          <a:off x="1431032" y="2043988"/>
          <a:ext cx="110050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E4016-7E8C-408B-A686-A8E1BCD4506D}">
      <dsp:nvSpPr>
        <dsp:cNvPr id="0" name=""/>
        <dsp:cNvSpPr/>
      </dsp:nvSpPr>
      <dsp:spPr>
        <a:xfrm>
          <a:off x="1451667" y="2052836"/>
          <a:ext cx="107987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latin typeface="Lato" panose="020F0502020204030203" pitchFamily="34" charset="0"/>
            </a:rPr>
            <a:t>LWORD</a:t>
          </a:r>
        </a:p>
      </dsp:txBody>
      <dsp:txXfrm>
        <a:off x="1451667" y="2052836"/>
        <a:ext cx="1079874" cy="176968"/>
      </dsp:txXfrm>
    </dsp:sp>
    <dsp:sp modelId="{45EE0D7F-6306-4B79-BAF5-563F5CBC8B64}">
      <dsp:nvSpPr>
        <dsp:cNvPr id="0" name=""/>
        <dsp:cNvSpPr/>
      </dsp:nvSpPr>
      <dsp:spPr>
        <a:xfrm>
          <a:off x="1431032" y="2229805"/>
          <a:ext cx="110050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2C7542-EC28-4D81-8500-63D2F65BF284}">
      <dsp:nvSpPr>
        <dsp:cNvPr id="0" name=""/>
        <dsp:cNvSpPr/>
      </dsp:nvSpPr>
      <dsp:spPr>
        <a:xfrm>
          <a:off x="1451667" y="2238653"/>
          <a:ext cx="107987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latin typeface="Lato" panose="020F0502020204030203" pitchFamily="34" charset="0"/>
            </a:rPr>
            <a:t>REAL</a:t>
          </a:r>
        </a:p>
      </dsp:txBody>
      <dsp:txXfrm>
        <a:off x="1451667" y="2238653"/>
        <a:ext cx="1079874" cy="176968"/>
      </dsp:txXfrm>
    </dsp:sp>
    <dsp:sp modelId="{8D22B8BA-B4A0-4183-B08F-28001A2B6636}">
      <dsp:nvSpPr>
        <dsp:cNvPr id="0" name=""/>
        <dsp:cNvSpPr/>
      </dsp:nvSpPr>
      <dsp:spPr>
        <a:xfrm>
          <a:off x="1431032" y="2415622"/>
          <a:ext cx="110050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64D356-55DD-4D54-8146-C37FFE150EEA}">
      <dsp:nvSpPr>
        <dsp:cNvPr id="0" name=""/>
        <dsp:cNvSpPr/>
      </dsp:nvSpPr>
      <dsp:spPr>
        <a:xfrm>
          <a:off x="1451667" y="2424470"/>
          <a:ext cx="107987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latin typeface="Lato" panose="020F0502020204030203" pitchFamily="34" charset="0"/>
            </a:rPr>
            <a:t>LREAL</a:t>
          </a:r>
        </a:p>
      </dsp:txBody>
      <dsp:txXfrm>
        <a:off x="1451667" y="2424470"/>
        <a:ext cx="1079874" cy="176968"/>
      </dsp:txXfrm>
    </dsp:sp>
    <dsp:sp modelId="{0188A1DD-8A12-4846-825B-A9BD80E610E9}">
      <dsp:nvSpPr>
        <dsp:cNvPr id="0" name=""/>
        <dsp:cNvSpPr/>
      </dsp:nvSpPr>
      <dsp:spPr>
        <a:xfrm>
          <a:off x="1431032" y="2601439"/>
          <a:ext cx="110050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E09B91-D9B3-4395-B3DA-2F44B903E33D}">
      <dsp:nvSpPr>
        <dsp:cNvPr id="0" name=""/>
        <dsp:cNvSpPr/>
      </dsp:nvSpPr>
      <dsp:spPr>
        <a:xfrm>
          <a:off x="1451667" y="2610287"/>
          <a:ext cx="107987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latin typeface="Lato" panose="020F0502020204030203" pitchFamily="34" charset="0"/>
            </a:rPr>
            <a:t>TIME</a:t>
          </a:r>
        </a:p>
      </dsp:txBody>
      <dsp:txXfrm>
        <a:off x="1451667" y="2610287"/>
        <a:ext cx="1079874" cy="176968"/>
      </dsp:txXfrm>
    </dsp:sp>
    <dsp:sp modelId="{CECF0841-54CE-4DFB-95E8-C87BA9CBD1EB}">
      <dsp:nvSpPr>
        <dsp:cNvPr id="0" name=""/>
        <dsp:cNvSpPr/>
      </dsp:nvSpPr>
      <dsp:spPr>
        <a:xfrm>
          <a:off x="1431032" y="2787256"/>
          <a:ext cx="110050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35330D-E0B5-4D0E-8A8B-25B4E6666D46}">
      <dsp:nvSpPr>
        <dsp:cNvPr id="0" name=""/>
        <dsp:cNvSpPr/>
      </dsp:nvSpPr>
      <dsp:spPr>
        <a:xfrm>
          <a:off x="1451667" y="2796104"/>
          <a:ext cx="1079874" cy="17696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latin typeface="Lato" panose="020F0502020204030203" pitchFamily="34" charset="0"/>
            </a:rPr>
            <a:t>STRING</a:t>
          </a:r>
        </a:p>
      </dsp:txBody>
      <dsp:txXfrm>
        <a:off x="1451667" y="2796104"/>
        <a:ext cx="1079874" cy="176968"/>
      </dsp:txXfrm>
    </dsp:sp>
    <dsp:sp modelId="{E34AA8E0-28F4-4AD9-A916-75294B6038A1}">
      <dsp:nvSpPr>
        <dsp:cNvPr id="0" name=""/>
        <dsp:cNvSpPr/>
      </dsp:nvSpPr>
      <dsp:spPr>
        <a:xfrm>
          <a:off x="1431032" y="2973073"/>
          <a:ext cx="110050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4C13ED3-D3A0-4315-9D5D-85BABA27B016}">
      <dsp:nvSpPr>
        <dsp:cNvPr id="0" name=""/>
        <dsp:cNvSpPr/>
      </dsp:nvSpPr>
      <dsp:spPr>
        <a:xfrm>
          <a:off x="0" y="0"/>
          <a:ext cx="1830850" cy="0"/>
        </a:xfrm>
        <a:prstGeom prst="line">
          <a:avLst/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A71D56-85DF-4D54-9B21-A3D3F455259B}">
      <dsp:nvSpPr>
        <dsp:cNvPr id="0" name=""/>
        <dsp:cNvSpPr/>
      </dsp:nvSpPr>
      <dsp:spPr>
        <a:xfrm>
          <a:off x="0" y="0"/>
          <a:ext cx="903469" cy="17611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chemeClr val="tx2"/>
              </a:solidFill>
            </a:rPr>
            <a:t>Data Types Supported</a:t>
          </a:r>
        </a:p>
      </dsp:txBody>
      <dsp:txXfrm>
        <a:off x="0" y="0"/>
        <a:ext cx="903469" cy="1761149"/>
      </dsp:txXfrm>
    </dsp:sp>
    <dsp:sp modelId="{F74AB7C3-C0CE-42A8-ADCD-E354E108D765}">
      <dsp:nvSpPr>
        <dsp:cNvPr id="0" name=""/>
        <dsp:cNvSpPr/>
      </dsp:nvSpPr>
      <dsp:spPr>
        <a:xfrm>
          <a:off x="920847" y="20702"/>
          <a:ext cx="909489" cy="414059"/>
        </a:xfrm>
        <a:prstGeom prst="borderCallout2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2"/>
              </a:solidFill>
            </a:rPr>
            <a:t>Boolean</a:t>
          </a:r>
        </a:p>
      </dsp:txBody>
      <dsp:txXfrm>
        <a:off x="920847" y="20702"/>
        <a:ext cx="909489" cy="414059"/>
      </dsp:txXfrm>
    </dsp:sp>
    <dsp:sp modelId="{169FBE19-E715-439E-AEA0-F69EAD6D0374}">
      <dsp:nvSpPr>
        <dsp:cNvPr id="0" name=""/>
        <dsp:cNvSpPr/>
      </dsp:nvSpPr>
      <dsp:spPr>
        <a:xfrm>
          <a:off x="903469" y="434762"/>
          <a:ext cx="926867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98FA18-6FD4-4F43-8879-7E667836F0B2}">
      <dsp:nvSpPr>
        <dsp:cNvPr id="0" name=""/>
        <dsp:cNvSpPr/>
      </dsp:nvSpPr>
      <dsp:spPr>
        <a:xfrm>
          <a:off x="920847" y="455465"/>
          <a:ext cx="909489" cy="4140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2"/>
              </a:solidFill>
            </a:rPr>
            <a:t>Integer</a:t>
          </a:r>
        </a:p>
      </dsp:txBody>
      <dsp:txXfrm>
        <a:off x="920847" y="455465"/>
        <a:ext cx="909489" cy="414059"/>
      </dsp:txXfrm>
    </dsp:sp>
    <dsp:sp modelId="{18BC2190-48FF-48B9-9C3F-5331CFE4C0E1}">
      <dsp:nvSpPr>
        <dsp:cNvPr id="0" name=""/>
        <dsp:cNvSpPr/>
      </dsp:nvSpPr>
      <dsp:spPr>
        <a:xfrm>
          <a:off x="903469" y="869524"/>
          <a:ext cx="926867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ED0FCB-A21F-4819-891A-27814A2F2B73}">
      <dsp:nvSpPr>
        <dsp:cNvPr id="0" name=""/>
        <dsp:cNvSpPr/>
      </dsp:nvSpPr>
      <dsp:spPr>
        <a:xfrm>
          <a:off x="920847" y="890227"/>
          <a:ext cx="909489" cy="4140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2"/>
              </a:solidFill>
            </a:rPr>
            <a:t>Float</a:t>
          </a:r>
        </a:p>
      </dsp:txBody>
      <dsp:txXfrm>
        <a:off x="920847" y="890227"/>
        <a:ext cx="909489" cy="414059"/>
      </dsp:txXfrm>
    </dsp:sp>
    <dsp:sp modelId="{F0EBC1F2-5A41-4D12-9455-7A5C54330513}">
      <dsp:nvSpPr>
        <dsp:cNvPr id="0" name=""/>
        <dsp:cNvSpPr/>
      </dsp:nvSpPr>
      <dsp:spPr>
        <a:xfrm>
          <a:off x="903469" y="1304286"/>
          <a:ext cx="926867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AD6F35A-ED80-46BA-A77B-3FB906F59183}">
      <dsp:nvSpPr>
        <dsp:cNvPr id="0" name=""/>
        <dsp:cNvSpPr/>
      </dsp:nvSpPr>
      <dsp:spPr>
        <a:xfrm>
          <a:off x="920847" y="1324989"/>
          <a:ext cx="909489" cy="4140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2"/>
              </a:solidFill>
            </a:rPr>
            <a:t>Long</a:t>
          </a:r>
        </a:p>
      </dsp:txBody>
      <dsp:txXfrm>
        <a:off x="920847" y="1324989"/>
        <a:ext cx="909489" cy="414059"/>
      </dsp:txXfrm>
    </dsp:sp>
    <dsp:sp modelId="{449DB954-DAAE-429F-84F9-21EB5265CA96}">
      <dsp:nvSpPr>
        <dsp:cNvPr id="0" name=""/>
        <dsp:cNvSpPr/>
      </dsp:nvSpPr>
      <dsp:spPr>
        <a:xfrm>
          <a:off x="903469" y="1739048"/>
          <a:ext cx="926867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DA5F68-DB38-4CBB-85E6-7C7C9768F978}">
      <dsp:nvSpPr>
        <dsp:cNvPr id="0" name=""/>
        <dsp:cNvSpPr/>
      </dsp:nvSpPr>
      <dsp:spPr>
        <a:xfrm>
          <a:off x="0" y="0"/>
          <a:ext cx="2077235" cy="0"/>
        </a:xfrm>
        <a:prstGeom prst="line">
          <a:avLst/>
        </a:prstGeom>
        <a:solidFill>
          <a:schemeClr val="accent2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C38840-F6DA-4B15-BF7D-AF57FD138F64}">
      <dsp:nvSpPr>
        <dsp:cNvPr id="0" name=""/>
        <dsp:cNvSpPr/>
      </dsp:nvSpPr>
      <dsp:spPr>
        <a:xfrm>
          <a:off x="0" y="0"/>
          <a:ext cx="843305" cy="29373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>
              <a:solidFill>
                <a:srgbClr val="63666A"/>
              </a:solidFill>
              <a:latin typeface="Lato" panose="020F0502020204030203" pitchFamily="34" charset="0"/>
            </a:rPr>
            <a:t>Data Types Supported</a:t>
          </a:r>
        </a:p>
      </dsp:txBody>
      <dsp:txXfrm>
        <a:off x="0" y="0"/>
        <a:ext cx="843305" cy="2937337"/>
      </dsp:txXfrm>
    </dsp:sp>
    <dsp:sp modelId="{AC089D7D-CF93-4FD2-BA9F-1EED0D953510}">
      <dsp:nvSpPr>
        <dsp:cNvPr id="0" name=""/>
        <dsp:cNvSpPr/>
      </dsp:nvSpPr>
      <dsp:spPr>
        <a:xfrm>
          <a:off x="866431" y="8713"/>
          <a:ext cx="1210232" cy="174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>
              <a:solidFill>
                <a:srgbClr val="63666A"/>
              </a:solidFill>
              <a:latin typeface="Lato" panose="020F0502020204030203" pitchFamily="34" charset="0"/>
            </a:rPr>
            <a:t>Boolean</a:t>
          </a:r>
        </a:p>
      </dsp:txBody>
      <dsp:txXfrm>
        <a:off x="866431" y="8713"/>
        <a:ext cx="1210232" cy="174260"/>
      </dsp:txXfrm>
    </dsp:sp>
    <dsp:sp modelId="{A32CE9FA-C2CB-4C6B-9FAE-461A308FEF09}">
      <dsp:nvSpPr>
        <dsp:cNvPr id="0" name=""/>
        <dsp:cNvSpPr/>
      </dsp:nvSpPr>
      <dsp:spPr>
        <a:xfrm>
          <a:off x="843305" y="182974"/>
          <a:ext cx="123335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D230D0-FFF4-4F83-9643-7EA2BC075469}">
      <dsp:nvSpPr>
        <dsp:cNvPr id="0" name=""/>
        <dsp:cNvSpPr/>
      </dsp:nvSpPr>
      <dsp:spPr>
        <a:xfrm>
          <a:off x="866431" y="191687"/>
          <a:ext cx="1210232" cy="174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>
              <a:solidFill>
                <a:srgbClr val="63666A"/>
              </a:solidFill>
              <a:latin typeface="Lato" panose="020F0502020204030203" pitchFamily="34" charset="0"/>
            </a:rPr>
            <a:t>SINT</a:t>
          </a:r>
        </a:p>
      </dsp:txBody>
      <dsp:txXfrm>
        <a:off x="866431" y="191687"/>
        <a:ext cx="1210232" cy="174260"/>
      </dsp:txXfrm>
    </dsp:sp>
    <dsp:sp modelId="{75B164C9-7B3F-4CAA-8BDE-8B04E56E05B1}">
      <dsp:nvSpPr>
        <dsp:cNvPr id="0" name=""/>
        <dsp:cNvSpPr/>
      </dsp:nvSpPr>
      <dsp:spPr>
        <a:xfrm>
          <a:off x="843305" y="365948"/>
          <a:ext cx="123335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82B72D-A957-43F3-92BB-B010F16E3D36}">
      <dsp:nvSpPr>
        <dsp:cNvPr id="0" name=""/>
        <dsp:cNvSpPr/>
      </dsp:nvSpPr>
      <dsp:spPr>
        <a:xfrm>
          <a:off x="866431" y="374661"/>
          <a:ext cx="1210232" cy="174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>
              <a:solidFill>
                <a:srgbClr val="63666A"/>
              </a:solidFill>
              <a:latin typeface="Lato" panose="020F0502020204030203" pitchFamily="34" charset="0"/>
            </a:rPr>
            <a:t>USINT</a:t>
          </a:r>
        </a:p>
      </dsp:txBody>
      <dsp:txXfrm>
        <a:off x="866431" y="374661"/>
        <a:ext cx="1210232" cy="174260"/>
      </dsp:txXfrm>
    </dsp:sp>
    <dsp:sp modelId="{6352B019-5E33-4940-B043-FACB9F821A15}">
      <dsp:nvSpPr>
        <dsp:cNvPr id="0" name=""/>
        <dsp:cNvSpPr/>
      </dsp:nvSpPr>
      <dsp:spPr>
        <a:xfrm>
          <a:off x="843305" y="548922"/>
          <a:ext cx="123335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46E154-A1A8-41F1-8E54-1EE6C27C18E4}">
      <dsp:nvSpPr>
        <dsp:cNvPr id="0" name=""/>
        <dsp:cNvSpPr/>
      </dsp:nvSpPr>
      <dsp:spPr>
        <a:xfrm>
          <a:off x="866431" y="557635"/>
          <a:ext cx="1210232" cy="174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rgbClr val="63666A"/>
              </a:solidFill>
              <a:latin typeface="Lato" panose="020F0502020204030203" pitchFamily="34" charset="0"/>
            </a:rPr>
            <a:t>BYTE</a:t>
          </a:r>
        </a:p>
      </dsp:txBody>
      <dsp:txXfrm>
        <a:off x="866431" y="557635"/>
        <a:ext cx="1210232" cy="174260"/>
      </dsp:txXfrm>
    </dsp:sp>
    <dsp:sp modelId="{29FB5101-C34E-434D-B584-27B03120ED35}">
      <dsp:nvSpPr>
        <dsp:cNvPr id="0" name=""/>
        <dsp:cNvSpPr/>
      </dsp:nvSpPr>
      <dsp:spPr>
        <a:xfrm>
          <a:off x="843305" y="731896"/>
          <a:ext cx="123335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66113C-D01C-454F-B608-24A614AA1CA5}">
      <dsp:nvSpPr>
        <dsp:cNvPr id="0" name=""/>
        <dsp:cNvSpPr/>
      </dsp:nvSpPr>
      <dsp:spPr>
        <a:xfrm>
          <a:off x="866431" y="740609"/>
          <a:ext cx="1210232" cy="174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rgbClr val="63666A"/>
              </a:solidFill>
              <a:latin typeface="Lato" panose="020F0502020204030203" pitchFamily="34" charset="0"/>
            </a:rPr>
            <a:t>INT</a:t>
          </a:r>
        </a:p>
      </dsp:txBody>
      <dsp:txXfrm>
        <a:off x="866431" y="740609"/>
        <a:ext cx="1210232" cy="174260"/>
      </dsp:txXfrm>
    </dsp:sp>
    <dsp:sp modelId="{7FE41DAE-B5DD-4A95-8B67-9E6839C8C95E}">
      <dsp:nvSpPr>
        <dsp:cNvPr id="0" name=""/>
        <dsp:cNvSpPr/>
      </dsp:nvSpPr>
      <dsp:spPr>
        <a:xfrm>
          <a:off x="843305" y="914870"/>
          <a:ext cx="123335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7C2110-462D-472D-BA17-3F97043017A8}">
      <dsp:nvSpPr>
        <dsp:cNvPr id="0" name=""/>
        <dsp:cNvSpPr/>
      </dsp:nvSpPr>
      <dsp:spPr>
        <a:xfrm>
          <a:off x="866431" y="923583"/>
          <a:ext cx="1210232" cy="174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>
              <a:solidFill>
                <a:srgbClr val="63666A"/>
              </a:solidFill>
              <a:latin typeface="Lato" panose="020F0502020204030203" pitchFamily="34" charset="0"/>
            </a:rPr>
            <a:t>UINT</a:t>
          </a:r>
        </a:p>
      </dsp:txBody>
      <dsp:txXfrm>
        <a:off x="866431" y="923583"/>
        <a:ext cx="1210232" cy="174260"/>
      </dsp:txXfrm>
    </dsp:sp>
    <dsp:sp modelId="{AAD56D4D-45F3-4C30-A5DC-515783A926A2}">
      <dsp:nvSpPr>
        <dsp:cNvPr id="0" name=""/>
        <dsp:cNvSpPr/>
      </dsp:nvSpPr>
      <dsp:spPr>
        <a:xfrm>
          <a:off x="843305" y="1097844"/>
          <a:ext cx="123335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6CD534-1D90-451B-B242-846092421D6D}">
      <dsp:nvSpPr>
        <dsp:cNvPr id="0" name=""/>
        <dsp:cNvSpPr/>
      </dsp:nvSpPr>
      <dsp:spPr>
        <a:xfrm>
          <a:off x="866431" y="1106557"/>
          <a:ext cx="1210232" cy="174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>
              <a:solidFill>
                <a:srgbClr val="63666A"/>
              </a:solidFill>
              <a:latin typeface="Lato" panose="020F0502020204030203" pitchFamily="34" charset="0"/>
            </a:rPr>
            <a:t>WORD</a:t>
          </a:r>
        </a:p>
      </dsp:txBody>
      <dsp:txXfrm>
        <a:off x="866431" y="1106557"/>
        <a:ext cx="1210232" cy="174260"/>
      </dsp:txXfrm>
    </dsp:sp>
    <dsp:sp modelId="{693615FE-1FE4-4CBB-8BAD-203705657481}">
      <dsp:nvSpPr>
        <dsp:cNvPr id="0" name=""/>
        <dsp:cNvSpPr/>
      </dsp:nvSpPr>
      <dsp:spPr>
        <a:xfrm>
          <a:off x="843305" y="1280818"/>
          <a:ext cx="123335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B1B8DE-E871-497A-9690-037009F5F175}">
      <dsp:nvSpPr>
        <dsp:cNvPr id="0" name=""/>
        <dsp:cNvSpPr/>
      </dsp:nvSpPr>
      <dsp:spPr>
        <a:xfrm>
          <a:off x="866431" y="1289531"/>
          <a:ext cx="1210232" cy="174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>
              <a:solidFill>
                <a:srgbClr val="63666A"/>
              </a:solidFill>
              <a:latin typeface="Lato" panose="020F0502020204030203" pitchFamily="34" charset="0"/>
            </a:rPr>
            <a:t>DINT</a:t>
          </a:r>
        </a:p>
      </dsp:txBody>
      <dsp:txXfrm>
        <a:off x="866431" y="1289531"/>
        <a:ext cx="1210232" cy="174260"/>
      </dsp:txXfrm>
    </dsp:sp>
    <dsp:sp modelId="{5C30380A-8D7B-4250-8217-2CE2C540B2BD}">
      <dsp:nvSpPr>
        <dsp:cNvPr id="0" name=""/>
        <dsp:cNvSpPr/>
      </dsp:nvSpPr>
      <dsp:spPr>
        <a:xfrm>
          <a:off x="843305" y="1463792"/>
          <a:ext cx="123335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5D6913-E199-4039-A20B-CA5F4755B9ED}">
      <dsp:nvSpPr>
        <dsp:cNvPr id="0" name=""/>
        <dsp:cNvSpPr/>
      </dsp:nvSpPr>
      <dsp:spPr>
        <a:xfrm>
          <a:off x="866431" y="1472505"/>
          <a:ext cx="1210232" cy="174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rgbClr val="63666A"/>
              </a:solidFill>
              <a:latin typeface="Lato" panose="020F0502020204030203" pitchFamily="34" charset="0"/>
            </a:rPr>
            <a:t>DWORD</a:t>
          </a:r>
        </a:p>
      </dsp:txBody>
      <dsp:txXfrm>
        <a:off x="866431" y="1472505"/>
        <a:ext cx="1210232" cy="174260"/>
      </dsp:txXfrm>
    </dsp:sp>
    <dsp:sp modelId="{4D870915-B8B4-4591-B866-F361B34BB9C0}">
      <dsp:nvSpPr>
        <dsp:cNvPr id="0" name=""/>
        <dsp:cNvSpPr/>
      </dsp:nvSpPr>
      <dsp:spPr>
        <a:xfrm>
          <a:off x="843305" y="1646766"/>
          <a:ext cx="123335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583A45-9A6D-4A10-A2A6-A8E7EC7172E5}">
      <dsp:nvSpPr>
        <dsp:cNvPr id="0" name=""/>
        <dsp:cNvSpPr/>
      </dsp:nvSpPr>
      <dsp:spPr>
        <a:xfrm>
          <a:off x="866431" y="1655479"/>
          <a:ext cx="1210232" cy="174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>
              <a:solidFill>
                <a:srgbClr val="63666A"/>
              </a:solidFill>
              <a:latin typeface="Lato" panose="020F0502020204030203" pitchFamily="34" charset="0"/>
            </a:rPr>
            <a:t>LINT</a:t>
          </a:r>
        </a:p>
      </dsp:txBody>
      <dsp:txXfrm>
        <a:off x="866431" y="1655479"/>
        <a:ext cx="1210232" cy="174260"/>
      </dsp:txXfrm>
    </dsp:sp>
    <dsp:sp modelId="{AC7BB51E-06C6-4833-81A5-41B0038DA01C}">
      <dsp:nvSpPr>
        <dsp:cNvPr id="0" name=""/>
        <dsp:cNvSpPr/>
      </dsp:nvSpPr>
      <dsp:spPr>
        <a:xfrm>
          <a:off x="843305" y="1829740"/>
          <a:ext cx="123335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6F2C1B-2D3B-4879-AE9F-213C70FCB66F}">
      <dsp:nvSpPr>
        <dsp:cNvPr id="0" name=""/>
        <dsp:cNvSpPr/>
      </dsp:nvSpPr>
      <dsp:spPr>
        <a:xfrm>
          <a:off x="866431" y="1838453"/>
          <a:ext cx="1210232" cy="174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>
              <a:solidFill>
                <a:srgbClr val="63666A"/>
              </a:solidFill>
              <a:latin typeface="Lato" panose="020F0502020204030203" pitchFamily="34" charset="0"/>
            </a:rPr>
            <a:t>ULINT</a:t>
          </a:r>
        </a:p>
      </dsp:txBody>
      <dsp:txXfrm>
        <a:off x="866431" y="1838453"/>
        <a:ext cx="1210232" cy="174260"/>
      </dsp:txXfrm>
    </dsp:sp>
    <dsp:sp modelId="{E3DDFE8F-7B87-4A81-B86A-A773EED95464}">
      <dsp:nvSpPr>
        <dsp:cNvPr id="0" name=""/>
        <dsp:cNvSpPr/>
      </dsp:nvSpPr>
      <dsp:spPr>
        <a:xfrm>
          <a:off x="843305" y="2012714"/>
          <a:ext cx="123335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4E4016-7E8C-408B-A686-A8E1BCD4506D}">
      <dsp:nvSpPr>
        <dsp:cNvPr id="0" name=""/>
        <dsp:cNvSpPr/>
      </dsp:nvSpPr>
      <dsp:spPr>
        <a:xfrm>
          <a:off x="866431" y="2021427"/>
          <a:ext cx="1210232" cy="174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rgbClr val="63666A"/>
              </a:solidFill>
              <a:latin typeface="Lato" panose="020F0502020204030203" pitchFamily="34" charset="0"/>
            </a:rPr>
            <a:t>LWORD</a:t>
          </a:r>
        </a:p>
      </dsp:txBody>
      <dsp:txXfrm>
        <a:off x="866431" y="2021427"/>
        <a:ext cx="1210232" cy="174260"/>
      </dsp:txXfrm>
    </dsp:sp>
    <dsp:sp modelId="{45EE0D7F-6306-4B79-BAF5-563F5CBC8B64}">
      <dsp:nvSpPr>
        <dsp:cNvPr id="0" name=""/>
        <dsp:cNvSpPr/>
      </dsp:nvSpPr>
      <dsp:spPr>
        <a:xfrm>
          <a:off x="843305" y="2195688"/>
          <a:ext cx="123335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42C7542-EC28-4D81-8500-63D2F65BF284}">
      <dsp:nvSpPr>
        <dsp:cNvPr id="0" name=""/>
        <dsp:cNvSpPr/>
      </dsp:nvSpPr>
      <dsp:spPr>
        <a:xfrm>
          <a:off x="866431" y="2204401"/>
          <a:ext cx="1210232" cy="174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>
              <a:solidFill>
                <a:srgbClr val="63666A"/>
              </a:solidFill>
              <a:latin typeface="Lato" panose="020F0502020204030203" pitchFamily="34" charset="0"/>
            </a:rPr>
            <a:t>REAL</a:t>
          </a:r>
        </a:p>
      </dsp:txBody>
      <dsp:txXfrm>
        <a:off x="866431" y="2204401"/>
        <a:ext cx="1210232" cy="174260"/>
      </dsp:txXfrm>
    </dsp:sp>
    <dsp:sp modelId="{8D22B8BA-B4A0-4183-B08F-28001A2B6636}">
      <dsp:nvSpPr>
        <dsp:cNvPr id="0" name=""/>
        <dsp:cNvSpPr/>
      </dsp:nvSpPr>
      <dsp:spPr>
        <a:xfrm>
          <a:off x="843305" y="2378662"/>
          <a:ext cx="123335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64D356-55DD-4D54-8146-C37FFE150EEA}">
      <dsp:nvSpPr>
        <dsp:cNvPr id="0" name=""/>
        <dsp:cNvSpPr/>
      </dsp:nvSpPr>
      <dsp:spPr>
        <a:xfrm>
          <a:off x="866431" y="2387375"/>
          <a:ext cx="1210232" cy="174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>
              <a:solidFill>
                <a:srgbClr val="63666A"/>
              </a:solidFill>
              <a:latin typeface="Lato" panose="020F0502020204030203" pitchFamily="34" charset="0"/>
            </a:rPr>
            <a:t>LREAL</a:t>
          </a:r>
        </a:p>
      </dsp:txBody>
      <dsp:txXfrm>
        <a:off x="866431" y="2387375"/>
        <a:ext cx="1210232" cy="174260"/>
      </dsp:txXfrm>
    </dsp:sp>
    <dsp:sp modelId="{0188A1DD-8A12-4846-825B-A9BD80E610E9}">
      <dsp:nvSpPr>
        <dsp:cNvPr id="0" name=""/>
        <dsp:cNvSpPr/>
      </dsp:nvSpPr>
      <dsp:spPr>
        <a:xfrm>
          <a:off x="843305" y="2561636"/>
          <a:ext cx="123335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E09B91-D9B3-4395-B3DA-2F44B903E33D}">
      <dsp:nvSpPr>
        <dsp:cNvPr id="0" name=""/>
        <dsp:cNvSpPr/>
      </dsp:nvSpPr>
      <dsp:spPr>
        <a:xfrm>
          <a:off x="866431" y="2570349"/>
          <a:ext cx="1210232" cy="174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>
              <a:solidFill>
                <a:srgbClr val="63666A"/>
              </a:solidFill>
              <a:latin typeface="Lato" panose="020F0502020204030203" pitchFamily="34" charset="0"/>
            </a:rPr>
            <a:t>TIME</a:t>
          </a:r>
        </a:p>
      </dsp:txBody>
      <dsp:txXfrm>
        <a:off x="866431" y="2570349"/>
        <a:ext cx="1210232" cy="174260"/>
      </dsp:txXfrm>
    </dsp:sp>
    <dsp:sp modelId="{CECF0841-54CE-4DFB-95E8-C87BA9CBD1EB}">
      <dsp:nvSpPr>
        <dsp:cNvPr id="0" name=""/>
        <dsp:cNvSpPr/>
      </dsp:nvSpPr>
      <dsp:spPr>
        <a:xfrm>
          <a:off x="843305" y="2744610"/>
          <a:ext cx="123335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35330D-E0B5-4D0E-8A8B-25B4E6666D46}">
      <dsp:nvSpPr>
        <dsp:cNvPr id="0" name=""/>
        <dsp:cNvSpPr/>
      </dsp:nvSpPr>
      <dsp:spPr>
        <a:xfrm>
          <a:off x="866431" y="2753323"/>
          <a:ext cx="1210232" cy="1742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rgbClr val="63666A"/>
              </a:solidFill>
              <a:latin typeface="Lato" panose="020F0502020204030203" pitchFamily="34" charset="0"/>
            </a:rPr>
            <a:t>STRING</a:t>
          </a:r>
        </a:p>
      </dsp:txBody>
      <dsp:txXfrm>
        <a:off x="866431" y="2753323"/>
        <a:ext cx="1210232" cy="174260"/>
      </dsp:txXfrm>
    </dsp:sp>
    <dsp:sp modelId="{E34AA8E0-28F4-4AD9-A916-75294B6038A1}">
      <dsp:nvSpPr>
        <dsp:cNvPr id="0" name=""/>
        <dsp:cNvSpPr/>
      </dsp:nvSpPr>
      <dsp:spPr>
        <a:xfrm>
          <a:off x="843305" y="2927584"/>
          <a:ext cx="1233358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349A0CA-19C7-EA48-A0A3-DC4B89B0BD7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D841CB-BC00-2C49-BB44-AE4A37AACBE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C0B48008-7972-9E41-83EA-F9693AF6AE93}" type="datetimeFigureOut">
              <a:rPr lang="en-US" smtClean="0"/>
              <a:t>4/3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93F442-95F2-D747-9D2D-BABA2573CD6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93607E-D73F-4140-9777-BE07799653C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239FA03F-6420-0644-A612-869BCF590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34639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3024" userDrawn="1">
          <p15:clr>
            <a:srgbClr val="F26B43"/>
          </p15:clr>
        </p15:guide>
        <p15:guide id="2" pos="2304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8CE85E70-50BF-3C41-9579-FD4E815028A4}" type="datetimeFigureOut">
              <a:rPr lang="en-US" smtClean="0"/>
              <a:t>4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53B23AE6-B4CE-5E4F-82B3-FA97ABC36E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483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024" userDrawn="1">
          <p15:clr>
            <a:srgbClr val="F26B43"/>
          </p15:clr>
        </p15:guide>
        <p15:guide id="2" pos="2304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dlion.net/" TargetMode="External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il &amp; Gas - Im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6">
            <a:extLst>
              <a:ext uri="{FF2B5EF4-FFF2-40B4-BE49-F238E27FC236}">
                <a16:creationId xmlns:a16="http://schemas.microsoft.com/office/drawing/2014/main" id="{2D8226C9-2E9F-19E7-A2A2-1935169FC8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6747"/>
            <a:ext cx="12192000" cy="5163335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249B0-C7B5-2E3C-44BF-BFFCFE23101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573" y="5794088"/>
            <a:ext cx="8818467" cy="381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400" b="0" i="0" cap="none" spc="100" baseline="0">
                <a:solidFill>
                  <a:srgbClr val="1B365D"/>
                </a:solidFill>
                <a:latin typeface="Titillium Web SemiBold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TITLE (OPTIONAL)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1DA43A4-AE5C-30F5-3AAE-FB327124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72" y="5329482"/>
            <a:ext cx="8818467" cy="444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 descr="A black and grey logo&#10;&#10;Description automatically generated">
            <a:extLst>
              <a:ext uri="{FF2B5EF4-FFF2-40B4-BE49-F238E27FC236}">
                <a16:creationId xmlns:a16="http://schemas.microsoft.com/office/drawing/2014/main" id="{DF47FCB7-DA7D-6325-9D6F-DB2084D776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5257800"/>
            <a:ext cx="1564220" cy="1175656"/>
          </a:xfrm>
          <a:prstGeom prst="rect">
            <a:avLst/>
          </a:prstGeom>
        </p:spPr>
      </p:pic>
      <p:sp>
        <p:nvSpPr>
          <p:cNvPr id="6" name="Freeform 5">
            <a:extLst>
              <a:ext uri="{FF2B5EF4-FFF2-40B4-BE49-F238E27FC236}">
                <a16:creationId xmlns:a16="http://schemas.microsoft.com/office/drawing/2014/main" id="{6EBC9A81-8509-E432-C910-8245E019801B}"/>
              </a:ext>
            </a:extLst>
          </p:cNvPr>
          <p:cNvSpPr/>
          <p:nvPr userDrawn="1"/>
        </p:nvSpPr>
        <p:spPr>
          <a:xfrm>
            <a:off x="518572" y="6292561"/>
            <a:ext cx="11292428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3909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 14">
            <a:extLst>
              <a:ext uri="{FF2B5EF4-FFF2-40B4-BE49-F238E27FC236}">
                <a16:creationId xmlns:a16="http://schemas.microsoft.com/office/drawing/2014/main" id="{88B04E1D-0386-7C3E-6DE0-CD3266192ED8}"/>
              </a:ext>
            </a:extLst>
          </p:cNvPr>
          <p:cNvSpPr>
            <a:spLocks/>
          </p:cNvSpPr>
          <p:nvPr userDrawn="1"/>
        </p:nvSpPr>
        <p:spPr>
          <a:xfrm>
            <a:off x="6103088" y="0"/>
            <a:ext cx="6088912" cy="6172200"/>
          </a:xfrm>
          <a:custGeom>
            <a:avLst/>
            <a:gdLst>
              <a:gd name="connsiteX0" fmla="*/ 0 w 6096000"/>
              <a:gd name="connsiteY0" fmla="*/ 0 h 5842000"/>
              <a:gd name="connsiteX1" fmla="*/ 6096000 w 6096000"/>
              <a:gd name="connsiteY1" fmla="*/ 0 h 5842000"/>
              <a:gd name="connsiteX2" fmla="*/ 6096000 w 6096000"/>
              <a:gd name="connsiteY2" fmla="*/ 5842000 h 5842000"/>
              <a:gd name="connsiteX3" fmla="*/ 507999 w 6096000"/>
              <a:gd name="connsiteY3" fmla="*/ 5842000 h 5842000"/>
              <a:gd name="connsiteX4" fmla="*/ 0 w 6096000"/>
              <a:gd name="connsiteY4" fmla="*/ 5334001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842000">
                <a:moveTo>
                  <a:pt x="0" y="0"/>
                </a:moveTo>
                <a:lnTo>
                  <a:pt x="6096000" y="0"/>
                </a:lnTo>
                <a:lnTo>
                  <a:pt x="6096000" y="5842000"/>
                </a:lnTo>
                <a:lnTo>
                  <a:pt x="507999" y="5842000"/>
                </a:lnTo>
                <a:lnTo>
                  <a:pt x="0" y="5334001"/>
                </a:lnTo>
                <a:close/>
              </a:path>
            </a:pathLst>
          </a:cu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cxnSp>
        <p:nvCxnSpPr>
          <p:cNvPr id="10" name="Gerade Verbindung 12">
            <a:extLst>
              <a:ext uri="{FF2B5EF4-FFF2-40B4-BE49-F238E27FC236}">
                <a16:creationId xmlns:a16="http://schemas.microsoft.com/office/drawing/2014/main" id="{0334C257-2B0C-4BFA-4B2B-BD89EEA1D150}"/>
              </a:ext>
            </a:extLst>
          </p:cNvPr>
          <p:cNvCxnSpPr>
            <a:cxnSpLocks/>
            <a:endCxn id="9" idx="4"/>
          </p:cNvCxnSpPr>
          <p:nvPr userDrawn="1"/>
        </p:nvCxnSpPr>
        <p:spPr>
          <a:xfrm flipH="1">
            <a:off x="6103088" y="1"/>
            <a:ext cx="20509" cy="5635487"/>
          </a:xfrm>
          <a:prstGeom prst="line">
            <a:avLst/>
          </a:prstGeom>
          <a:ln w="50800" cap="rnd">
            <a:solidFill>
              <a:srgbClr val="AB23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C900F09F-35A4-8F5D-F1DD-5038916D1C2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09600" y="2398646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1: Click to edi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1CECC23B-0321-0520-11B0-0CB2002FC026}"/>
              </a:ext>
            </a:extLst>
          </p:cNvPr>
          <p:cNvSpPr>
            <a:spLocks noGrp="1"/>
          </p:cNvSpPr>
          <p:nvPr userDrawn="1">
            <p:ph type="body" idx="14" hasCustomPrompt="1"/>
          </p:nvPr>
        </p:nvSpPr>
        <p:spPr>
          <a:xfrm>
            <a:off x="609600" y="3060845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2: Click to edit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ACF60F2-298F-DB5E-3792-FBE408E06EA1}"/>
              </a:ext>
            </a:extLst>
          </p:cNvPr>
          <p:cNvSpPr>
            <a:spLocks noGrp="1"/>
          </p:cNvSpPr>
          <p:nvPr userDrawn="1">
            <p:ph type="body" idx="15" hasCustomPrompt="1"/>
          </p:nvPr>
        </p:nvSpPr>
        <p:spPr>
          <a:xfrm>
            <a:off x="609600" y="3723044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3: Click to edit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AEA4129-02B1-5CDC-7C92-F04A367CFF65}"/>
              </a:ext>
            </a:extLst>
          </p:cNvPr>
          <p:cNvSpPr>
            <a:spLocks noGrp="1"/>
          </p:cNvSpPr>
          <p:nvPr userDrawn="1">
            <p:ph type="body" idx="16" hasCustomPrompt="1"/>
          </p:nvPr>
        </p:nvSpPr>
        <p:spPr>
          <a:xfrm>
            <a:off x="609600" y="4385243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Topic 4: Click to edi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3C6C622-9A32-C654-996F-5F4B66C64C7B}"/>
              </a:ext>
            </a:extLst>
          </p:cNvPr>
          <p:cNvSpPr/>
          <p:nvPr userDrawn="1"/>
        </p:nvSpPr>
        <p:spPr>
          <a:xfrm>
            <a:off x="5867142" y="2285220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  <a:endParaRPr lang="en-US" sz="1600" b="0" noProof="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D37117E-5BC3-4EC6-5986-14B41BBA863B}"/>
              </a:ext>
            </a:extLst>
          </p:cNvPr>
          <p:cNvSpPr/>
          <p:nvPr userDrawn="1"/>
        </p:nvSpPr>
        <p:spPr>
          <a:xfrm>
            <a:off x="5867142" y="2940365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A28C89B-C47D-A1BE-C874-A18608AC2E28}"/>
              </a:ext>
            </a:extLst>
          </p:cNvPr>
          <p:cNvSpPr/>
          <p:nvPr userDrawn="1"/>
        </p:nvSpPr>
        <p:spPr>
          <a:xfrm>
            <a:off x="5867142" y="3615069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F59BD33-D774-EE4E-056A-4C1745E7BFFC}"/>
              </a:ext>
            </a:extLst>
          </p:cNvPr>
          <p:cNvSpPr/>
          <p:nvPr userDrawn="1"/>
        </p:nvSpPr>
        <p:spPr>
          <a:xfrm>
            <a:off x="5874230" y="4287911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4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5953047" y="4362325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4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5936790" y="2369394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5945701" y="3010624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5953047" y="3687179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CA76C70F-2222-AEA1-788F-5B679E0DA8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508" y="1925661"/>
            <a:ext cx="3384000" cy="1918318"/>
          </a:xfrm>
          <a:prstGeom prst="rect">
            <a:avLst/>
          </a:prstGeom>
        </p:spPr>
      </p:pic>
      <p:sp>
        <p:nvSpPr>
          <p:cNvPr id="6" name="Title Placeholder 12">
            <a:extLst>
              <a:ext uri="{FF2B5EF4-FFF2-40B4-BE49-F238E27FC236}">
                <a16:creationId xmlns:a16="http://schemas.microsoft.com/office/drawing/2014/main" id="{E9999741-E3E6-AEE8-E6F7-98EFC0990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535099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6894F2-ABD1-6951-89ED-A3810FD387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535035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AAB0D41A-A22B-E563-38EA-5694158721D0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7675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 14">
            <a:extLst>
              <a:ext uri="{FF2B5EF4-FFF2-40B4-BE49-F238E27FC236}">
                <a16:creationId xmlns:a16="http://schemas.microsoft.com/office/drawing/2014/main" id="{88B04E1D-0386-7C3E-6DE0-CD3266192ED8}"/>
              </a:ext>
            </a:extLst>
          </p:cNvPr>
          <p:cNvSpPr>
            <a:spLocks/>
          </p:cNvSpPr>
          <p:nvPr userDrawn="1"/>
        </p:nvSpPr>
        <p:spPr>
          <a:xfrm>
            <a:off x="6103088" y="0"/>
            <a:ext cx="6088912" cy="6172200"/>
          </a:xfrm>
          <a:custGeom>
            <a:avLst/>
            <a:gdLst>
              <a:gd name="connsiteX0" fmla="*/ 0 w 6096000"/>
              <a:gd name="connsiteY0" fmla="*/ 0 h 5842000"/>
              <a:gd name="connsiteX1" fmla="*/ 6096000 w 6096000"/>
              <a:gd name="connsiteY1" fmla="*/ 0 h 5842000"/>
              <a:gd name="connsiteX2" fmla="*/ 6096000 w 6096000"/>
              <a:gd name="connsiteY2" fmla="*/ 5842000 h 5842000"/>
              <a:gd name="connsiteX3" fmla="*/ 507999 w 6096000"/>
              <a:gd name="connsiteY3" fmla="*/ 5842000 h 5842000"/>
              <a:gd name="connsiteX4" fmla="*/ 0 w 6096000"/>
              <a:gd name="connsiteY4" fmla="*/ 5334001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842000">
                <a:moveTo>
                  <a:pt x="0" y="0"/>
                </a:moveTo>
                <a:lnTo>
                  <a:pt x="6096000" y="0"/>
                </a:lnTo>
                <a:lnTo>
                  <a:pt x="6096000" y="5842000"/>
                </a:lnTo>
                <a:lnTo>
                  <a:pt x="507999" y="5842000"/>
                </a:lnTo>
                <a:lnTo>
                  <a:pt x="0" y="5334001"/>
                </a:lnTo>
                <a:close/>
              </a:path>
            </a:pathLst>
          </a:cu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cxnSp>
        <p:nvCxnSpPr>
          <p:cNvPr id="10" name="Gerade Verbindung 12">
            <a:extLst>
              <a:ext uri="{FF2B5EF4-FFF2-40B4-BE49-F238E27FC236}">
                <a16:creationId xmlns:a16="http://schemas.microsoft.com/office/drawing/2014/main" id="{0334C257-2B0C-4BFA-4B2B-BD89EEA1D150}"/>
              </a:ext>
            </a:extLst>
          </p:cNvPr>
          <p:cNvCxnSpPr>
            <a:cxnSpLocks/>
            <a:endCxn id="9" idx="4"/>
          </p:cNvCxnSpPr>
          <p:nvPr userDrawn="1"/>
        </p:nvCxnSpPr>
        <p:spPr>
          <a:xfrm flipH="1">
            <a:off x="6103088" y="1"/>
            <a:ext cx="20509" cy="5635487"/>
          </a:xfrm>
          <a:prstGeom prst="line">
            <a:avLst/>
          </a:prstGeom>
          <a:ln w="50800" cap="rnd">
            <a:solidFill>
              <a:srgbClr val="AB23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C900F09F-35A4-8F5D-F1DD-5038916D1C2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09600" y="2070273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1: Click to edi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1CECC23B-0321-0520-11B0-0CB2002FC026}"/>
              </a:ext>
            </a:extLst>
          </p:cNvPr>
          <p:cNvSpPr>
            <a:spLocks noGrp="1"/>
          </p:cNvSpPr>
          <p:nvPr userDrawn="1">
            <p:ph type="body" idx="14" hasCustomPrompt="1"/>
          </p:nvPr>
        </p:nvSpPr>
        <p:spPr>
          <a:xfrm>
            <a:off x="609600" y="2732472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2: Click to edit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ACF60F2-298F-DB5E-3792-FBE408E06EA1}"/>
              </a:ext>
            </a:extLst>
          </p:cNvPr>
          <p:cNvSpPr>
            <a:spLocks noGrp="1"/>
          </p:cNvSpPr>
          <p:nvPr userDrawn="1">
            <p:ph type="body" idx="15" hasCustomPrompt="1"/>
          </p:nvPr>
        </p:nvSpPr>
        <p:spPr>
          <a:xfrm>
            <a:off x="609600" y="3394671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3: Click to edit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AEA4129-02B1-5CDC-7C92-F04A367CFF65}"/>
              </a:ext>
            </a:extLst>
          </p:cNvPr>
          <p:cNvSpPr>
            <a:spLocks noGrp="1"/>
          </p:cNvSpPr>
          <p:nvPr userDrawn="1">
            <p:ph type="body" idx="16" hasCustomPrompt="1"/>
          </p:nvPr>
        </p:nvSpPr>
        <p:spPr>
          <a:xfrm>
            <a:off x="609600" y="4056870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Topic 4: Click to edit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FA233034-672E-9F31-089A-EC08101C66FA}"/>
              </a:ext>
            </a:extLst>
          </p:cNvPr>
          <p:cNvSpPr>
            <a:spLocks noGrp="1"/>
          </p:cNvSpPr>
          <p:nvPr userDrawn="1">
            <p:ph type="body" idx="17" hasCustomPrompt="1"/>
          </p:nvPr>
        </p:nvSpPr>
        <p:spPr>
          <a:xfrm>
            <a:off x="609600" y="4719069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5: Click to edi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3C6C622-9A32-C654-996F-5F4B66C64C7B}"/>
              </a:ext>
            </a:extLst>
          </p:cNvPr>
          <p:cNvSpPr/>
          <p:nvPr userDrawn="1"/>
        </p:nvSpPr>
        <p:spPr>
          <a:xfrm>
            <a:off x="5867142" y="1956847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  <a:endParaRPr lang="en-US" sz="1600" b="0" noProof="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D37117E-5BC3-4EC6-5986-14B41BBA863B}"/>
              </a:ext>
            </a:extLst>
          </p:cNvPr>
          <p:cNvSpPr/>
          <p:nvPr userDrawn="1"/>
        </p:nvSpPr>
        <p:spPr>
          <a:xfrm>
            <a:off x="5867142" y="2611992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A28C89B-C47D-A1BE-C874-A18608AC2E28}"/>
              </a:ext>
            </a:extLst>
          </p:cNvPr>
          <p:cNvSpPr/>
          <p:nvPr userDrawn="1"/>
        </p:nvSpPr>
        <p:spPr>
          <a:xfrm>
            <a:off x="5867142" y="3286696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F59BD33-D774-EE4E-056A-4C1745E7BFFC}"/>
              </a:ext>
            </a:extLst>
          </p:cNvPr>
          <p:cNvSpPr/>
          <p:nvPr userDrawn="1"/>
        </p:nvSpPr>
        <p:spPr>
          <a:xfrm>
            <a:off x="5874230" y="3959538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4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B5500A1-F711-C0EF-C6CB-71AA55E89CCB}"/>
              </a:ext>
            </a:extLst>
          </p:cNvPr>
          <p:cNvSpPr/>
          <p:nvPr userDrawn="1"/>
        </p:nvSpPr>
        <p:spPr>
          <a:xfrm>
            <a:off x="5867142" y="4614683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5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5953047" y="4033952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4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5936790" y="2041021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5945701" y="2682251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5953047" y="3358806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5936083" y="4688615"/>
            <a:ext cx="319319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5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CA76C70F-2222-AEA1-788F-5B679E0DA8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508" y="1925661"/>
            <a:ext cx="3384000" cy="1918318"/>
          </a:xfrm>
          <a:prstGeom prst="rect">
            <a:avLst/>
          </a:prstGeom>
        </p:spPr>
      </p:pic>
      <p:sp>
        <p:nvSpPr>
          <p:cNvPr id="6" name="Title Placeholder 12">
            <a:extLst>
              <a:ext uri="{FF2B5EF4-FFF2-40B4-BE49-F238E27FC236}">
                <a16:creationId xmlns:a16="http://schemas.microsoft.com/office/drawing/2014/main" id="{E9999741-E3E6-AEE8-E6F7-98EFC0990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535099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6894F2-ABD1-6951-89ED-A3810FD387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535035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F7E22C97-84D1-6F24-2337-688BD3AADFFC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15882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 14">
            <a:extLst>
              <a:ext uri="{FF2B5EF4-FFF2-40B4-BE49-F238E27FC236}">
                <a16:creationId xmlns:a16="http://schemas.microsoft.com/office/drawing/2014/main" id="{88B04E1D-0386-7C3E-6DE0-CD3266192ED8}"/>
              </a:ext>
            </a:extLst>
          </p:cNvPr>
          <p:cNvSpPr>
            <a:spLocks/>
          </p:cNvSpPr>
          <p:nvPr userDrawn="1"/>
        </p:nvSpPr>
        <p:spPr>
          <a:xfrm>
            <a:off x="6103088" y="0"/>
            <a:ext cx="6088912" cy="6172200"/>
          </a:xfrm>
          <a:custGeom>
            <a:avLst/>
            <a:gdLst>
              <a:gd name="connsiteX0" fmla="*/ 0 w 6096000"/>
              <a:gd name="connsiteY0" fmla="*/ 0 h 5842000"/>
              <a:gd name="connsiteX1" fmla="*/ 6096000 w 6096000"/>
              <a:gd name="connsiteY1" fmla="*/ 0 h 5842000"/>
              <a:gd name="connsiteX2" fmla="*/ 6096000 w 6096000"/>
              <a:gd name="connsiteY2" fmla="*/ 5842000 h 5842000"/>
              <a:gd name="connsiteX3" fmla="*/ 507999 w 6096000"/>
              <a:gd name="connsiteY3" fmla="*/ 5842000 h 5842000"/>
              <a:gd name="connsiteX4" fmla="*/ 0 w 6096000"/>
              <a:gd name="connsiteY4" fmla="*/ 5334001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842000">
                <a:moveTo>
                  <a:pt x="0" y="0"/>
                </a:moveTo>
                <a:lnTo>
                  <a:pt x="6096000" y="0"/>
                </a:lnTo>
                <a:lnTo>
                  <a:pt x="6096000" y="5842000"/>
                </a:lnTo>
                <a:lnTo>
                  <a:pt x="507999" y="5842000"/>
                </a:lnTo>
                <a:lnTo>
                  <a:pt x="0" y="5334001"/>
                </a:lnTo>
                <a:close/>
              </a:path>
            </a:pathLst>
          </a:cu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cxnSp>
        <p:nvCxnSpPr>
          <p:cNvPr id="10" name="Gerade Verbindung 12">
            <a:extLst>
              <a:ext uri="{FF2B5EF4-FFF2-40B4-BE49-F238E27FC236}">
                <a16:creationId xmlns:a16="http://schemas.microsoft.com/office/drawing/2014/main" id="{0334C257-2B0C-4BFA-4B2B-BD89EEA1D150}"/>
              </a:ext>
            </a:extLst>
          </p:cNvPr>
          <p:cNvCxnSpPr>
            <a:cxnSpLocks/>
            <a:endCxn id="9" idx="4"/>
          </p:cNvCxnSpPr>
          <p:nvPr userDrawn="1"/>
        </p:nvCxnSpPr>
        <p:spPr>
          <a:xfrm flipH="1">
            <a:off x="6103088" y="1"/>
            <a:ext cx="20509" cy="5635487"/>
          </a:xfrm>
          <a:prstGeom prst="line">
            <a:avLst/>
          </a:prstGeom>
          <a:ln w="50800" cap="rnd">
            <a:solidFill>
              <a:srgbClr val="AB23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C900F09F-35A4-8F5D-F1DD-5038916D1C2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09600" y="1740477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1: Click to edi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1CECC23B-0321-0520-11B0-0CB2002FC026}"/>
              </a:ext>
            </a:extLst>
          </p:cNvPr>
          <p:cNvSpPr>
            <a:spLocks noGrp="1"/>
          </p:cNvSpPr>
          <p:nvPr userDrawn="1">
            <p:ph type="body" idx="14" hasCustomPrompt="1"/>
          </p:nvPr>
        </p:nvSpPr>
        <p:spPr>
          <a:xfrm>
            <a:off x="609600" y="2402676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2: Click to edit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ACF60F2-298F-DB5E-3792-FBE408E06EA1}"/>
              </a:ext>
            </a:extLst>
          </p:cNvPr>
          <p:cNvSpPr>
            <a:spLocks noGrp="1"/>
          </p:cNvSpPr>
          <p:nvPr userDrawn="1">
            <p:ph type="body" idx="15" hasCustomPrompt="1"/>
          </p:nvPr>
        </p:nvSpPr>
        <p:spPr>
          <a:xfrm>
            <a:off x="609600" y="3064875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3: Click to edit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AEA4129-02B1-5CDC-7C92-F04A367CFF65}"/>
              </a:ext>
            </a:extLst>
          </p:cNvPr>
          <p:cNvSpPr>
            <a:spLocks noGrp="1"/>
          </p:cNvSpPr>
          <p:nvPr userDrawn="1">
            <p:ph type="body" idx="16" hasCustomPrompt="1"/>
          </p:nvPr>
        </p:nvSpPr>
        <p:spPr>
          <a:xfrm>
            <a:off x="609600" y="3727074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Topic 4: Click to edit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FA233034-672E-9F31-089A-EC08101C66FA}"/>
              </a:ext>
            </a:extLst>
          </p:cNvPr>
          <p:cNvSpPr>
            <a:spLocks noGrp="1"/>
          </p:cNvSpPr>
          <p:nvPr userDrawn="1">
            <p:ph type="body" idx="17" hasCustomPrompt="1"/>
          </p:nvPr>
        </p:nvSpPr>
        <p:spPr>
          <a:xfrm>
            <a:off x="609600" y="4389273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5: Click to edit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AD088E82-97E8-2166-FE98-B6A1E1A8C561}"/>
              </a:ext>
            </a:extLst>
          </p:cNvPr>
          <p:cNvSpPr>
            <a:spLocks noGrp="1"/>
          </p:cNvSpPr>
          <p:nvPr userDrawn="1">
            <p:ph type="body" idx="18" hasCustomPrompt="1"/>
          </p:nvPr>
        </p:nvSpPr>
        <p:spPr>
          <a:xfrm>
            <a:off x="609600" y="5051470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Topic 6: Click to edi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3C6C622-9A32-C654-996F-5F4B66C64C7B}"/>
              </a:ext>
            </a:extLst>
          </p:cNvPr>
          <p:cNvSpPr/>
          <p:nvPr userDrawn="1"/>
        </p:nvSpPr>
        <p:spPr>
          <a:xfrm>
            <a:off x="5867142" y="1627051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  <a:endParaRPr lang="en-US" sz="1600" b="0" noProof="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D37117E-5BC3-4EC6-5986-14B41BBA863B}"/>
              </a:ext>
            </a:extLst>
          </p:cNvPr>
          <p:cNvSpPr/>
          <p:nvPr userDrawn="1"/>
        </p:nvSpPr>
        <p:spPr>
          <a:xfrm>
            <a:off x="5867142" y="2282196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A28C89B-C47D-A1BE-C874-A18608AC2E28}"/>
              </a:ext>
            </a:extLst>
          </p:cNvPr>
          <p:cNvSpPr/>
          <p:nvPr userDrawn="1"/>
        </p:nvSpPr>
        <p:spPr>
          <a:xfrm>
            <a:off x="5867142" y="2956900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F59BD33-D774-EE4E-056A-4C1745E7BFFC}"/>
              </a:ext>
            </a:extLst>
          </p:cNvPr>
          <p:cNvSpPr/>
          <p:nvPr userDrawn="1"/>
        </p:nvSpPr>
        <p:spPr>
          <a:xfrm>
            <a:off x="5874230" y="3629742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4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B5500A1-F711-C0EF-C6CB-71AA55E89CCB}"/>
              </a:ext>
            </a:extLst>
          </p:cNvPr>
          <p:cNvSpPr/>
          <p:nvPr userDrawn="1"/>
        </p:nvSpPr>
        <p:spPr>
          <a:xfrm>
            <a:off x="5867142" y="4284887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5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063E3EB-463D-E32A-DB6E-1DAE0C913FEE}"/>
              </a:ext>
            </a:extLst>
          </p:cNvPr>
          <p:cNvSpPr/>
          <p:nvPr userDrawn="1"/>
        </p:nvSpPr>
        <p:spPr>
          <a:xfrm>
            <a:off x="5867142" y="4940032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6</a:t>
            </a:r>
          </a:p>
        </p:txBody>
      </p:sp>
      <p:sp>
        <p:nvSpPr>
          <p:cNvPr id="23" name="Rectangle 22"/>
          <p:cNvSpPr/>
          <p:nvPr userDrawn="1"/>
        </p:nvSpPr>
        <p:spPr>
          <a:xfrm>
            <a:off x="5953047" y="3704156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4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5936790" y="1711225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5945701" y="2352455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5953047" y="3029010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5936083" y="4358819"/>
            <a:ext cx="319319" cy="3385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5</a:t>
            </a:r>
          </a:p>
        </p:txBody>
      </p:sp>
      <p:sp>
        <p:nvSpPr>
          <p:cNvPr id="28" name="Rectangle 27"/>
          <p:cNvSpPr/>
          <p:nvPr userDrawn="1"/>
        </p:nvSpPr>
        <p:spPr>
          <a:xfrm>
            <a:off x="5945701" y="5018052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6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CA76C70F-2222-AEA1-788F-5B679E0DA8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508" y="1925661"/>
            <a:ext cx="3384000" cy="1918318"/>
          </a:xfrm>
          <a:prstGeom prst="rect">
            <a:avLst/>
          </a:prstGeom>
        </p:spPr>
      </p:pic>
      <p:sp>
        <p:nvSpPr>
          <p:cNvPr id="6" name="Title Placeholder 12">
            <a:extLst>
              <a:ext uri="{FF2B5EF4-FFF2-40B4-BE49-F238E27FC236}">
                <a16:creationId xmlns:a16="http://schemas.microsoft.com/office/drawing/2014/main" id="{E9999741-E3E6-AEE8-E6F7-98EFC0990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535099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6894F2-ABD1-6951-89ED-A3810FD387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535035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5B68B5EB-BFE7-E07C-AA45-243304EB6FCF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3503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2">
            <a:extLst>
              <a:ext uri="{FF2B5EF4-FFF2-40B4-BE49-F238E27FC236}">
                <a16:creationId xmlns:a16="http://schemas.microsoft.com/office/drawing/2014/main" id="{891A5E40-0F8A-9E40-D4D1-18EC63D82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73B974-EE63-5AE4-8D9B-A6DEA9C921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8E39B5F-4603-E073-54D1-443CB4C96D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3875" y="1600200"/>
            <a:ext cx="11058525" cy="4572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03B0410A-809B-B73F-FDE3-EE020E828C18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8110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20F97822-8794-45A7-974E-A48B1CE2A1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-1"/>
            <a:ext cx="6078222" cy="6172200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7" name="Title Placeholder 12">
            <a:extLst>
              <a:ext uri="{FF2B5EF4-FFF2-40B4-BE49-F238E27FC236}">
                <a16:creationId xmlns:a16="http://schemas.microsoft.com/office/drawing/2014/main" id="{5D88D7BE-A1D3-AC22-277C-F8CAB6FE8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1" y="152401"/>
            <a:ext cx="511556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b="0" i="0">
                <a:latin typeface="Titillium Web Light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4CF95E1-954F-A650-C7E4-910DD5E83E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3876" y="838200"/>
            <a:ext cx="5115560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C89B154D-3AEF-21C9-A648-AE6B67F947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23876" y="1600200"/>
            <a:ext cx="5114926" cy="4572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655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55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2 Squar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20F97822-8794-45A7-974E-A48B1CE2A1A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656320" y="301831"/>
            <a:ext cx="2921000" cy="2791196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8" name="Title Placeholder 12">
            <a:extLst>
              <a:ext uri="{FF2B5EF4-FFF2-40B4-BE49-F238E27FC236}">
                <a16:creationId xmlns:a16="http://schemas.microsoft.com/office/drawing/2014/main" id="{AF4E1544-901D-BD0A-F7F7-B140EBCAD7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1" y="152401"/>
            <a:ext cx="778256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13D4561-30D2-AA6A-297C-38B9039829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3876" y="838200"/>
            <a:ext cx="7782560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10" name="Picture Placeholder 30">
            <a:extLst>
              <a:ext uri="{FF2B5EF4-FFF2-40B4-BE49-F238E27FC236}">
                <a16:creationId xmlns:a16="http://schemas.microsoft.com/office/drawing/2014/main" id="{CE42BE7E-B9D2-553A-AE77-EE621E762C7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656320" y="3381004"/>
            <a:ext cx="2921000" cy="2791196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E844913D-7E9D-C943-099B-88C357D029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3876" y="1600200"/>
            <a:ext cx="7781926" cy="4572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AD19254B-71A8-CFAD-5B42-B176965C0FC7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411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2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2">
            <a:extLst>
              <a:ext uri="{FF2B5EF4-FFF2-40B4-BE49-F238E27FC236}">
                <a16:creationId xmlns:a16="http://schemas.microsoft.com/office/drawing/2014/main" id="{B274CE00-D06A-F8A3-4F57-825FE0CA4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1" y="152401"/>
            <a:ext cx="557244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DC0999-AC5B-44C2-FFC6-6020D26A93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3876" y="838200"/>
            <a:ext cx="5572440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12" name="Picture Placeholder 30">
            <a:extLst>
              <a:ext uri="{FF2B5EF4-FFF2-40B4-BE49-F238E27FC236}">
                <a16:creationId xmlns:a16="http://schemas.microsoft.com/office/drawing/2014/main" id="{F89F9FCC-FB6A-D8F1-5452-8BDDA83EB02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477000" y="301831"/>
            <a:ext cx="5100320" cy="2791196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3" name="Picture Placeholder 30">
            <a:extLst>
              <a:ext uri="{FF2B5EF4-FFF2-40B4-BE49-F238E27FC236}">
                <a16:creationId xmlns:a16="http://schemas.microsoft.com/office/drawing/2014/main" id="{9694B689-BA48-9EDD-79EA-E2BC323BDD1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477000" y="3381004"/>
            <a:ext cx="5100320" cy="2791196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7373CDF-D919-DCC3-264E-2C51C0CC57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3876" y="1600200"/>
            <a:ext cx="5571806" cy="4572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A29A3980-A2DC-1A7F-02E1-2DE82DC4C186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9150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4 Squar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2">
            <a:extLst>
              <a:ext uri="{FF2B5EF4-FFF2-40B4-BE49-F238E27FC236}">
                <a16:creationId xmlns:a16="http://schemas.microsoft.com/office/drawing/2014/main" id="{74A8DF2F-2E8C-335D-EC57-5E73BC831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1" y="152401"/>
            <a:ext cx="557244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71D3BF9-008A-C187-FDC6-4371C4DE97B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3876" y="838200"/>
            <a:ext cx="5572440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9" name="Picture Placeholder 30">
            <a:extLst>
              <a:ext uri="{FF2B5EF4-FFF2-40B4-BE49-F238E27FC236}">
                <a16:creationId xmlns:a16="http://schemas.microsoft.com/office/drawing/2014/main" id="{247EAB09-BC93-D7DF-14CF-2AB082B7FDA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9144000" y="301831"/>
            <a:ext cx="2433320" cy="2791196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0" name="Picture Placeholder 30">
            <a:extLst>
              <a:ext uri="{FF2B5EF4-FFF2-40B4-BE49-F238E27FC236}">
                <a16:creationId xmlns:a16="http://schemas.microsoft.com/office/drawing/2014/main" id="{A9F9B7C8-529A-B9B3-B9B9-64C0D5F3DD8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44000" y="3381004"/>
            <a:ext cx="2433320" cy="2791196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19" name="Picture Placeholder 30">
            <a:extLst>
              <a:ext uri="{FF2B5EF4-FFF2-40B4-BE49-F238E27FC236}">
                <a16:creationId xmlns:a16="http://schemas.microsoft.com/office/drawing/2014/main" id="{E0E038EB-3486-6D52-3DEC-E87913CB020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05880" y="301831"/>
            <a:ext cx="2433320" cy="2791196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20" name="Picture Placeholder 30">
            <a:extLst>
              <a:ext uri="{FF2B5EF4-FFF2-40B4-BE49-F238E27FC236}">
                <a16:creationId xmlns:a16="http://schemas.microsoft.com/office/drawing/2014/main" id="{806DDC50-162F-12A1-404E-C998571DA5B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05880" y="3381004"/>
            <a:ext cx="2433320" cy="2791196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3F87EFC3-D105-3751-578F-154D0966DC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3876" y="1600200"/>
            <a:ext cx="5571806" cy="45720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51996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FF79205-EE7C-F9B8-0FAC-73A9CDC3963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09600" y="1600200"/>
            <a:ext cx="10972165" cy="4563516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 b="1" i="0"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 dirty="0"/>
              <a:t>CLICK ON THE ICONS BELOW TO INSERT GRAPHICAL CONTENT (SMART ART, CHARTS, …).</a:t>
            </a:r>
          </a:p>
        </p:txBody>
      </p:sp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90B3A783-3D81-5268-F1E4-A572ED9844F3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401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+ Graphi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E7FB99E0-3B9F-7F0D-C067-57B8DCF1820D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09600" y="1600200"/>
            <a:ext cx="10972800" cy="4572000"/>
          </a:xfrm>
          <a:prstGeom prst="rect">
            <a:avLst/>
          </a:prstGeom>
          <a:noFill/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0E6C3765-027F-B7DA-0CDD-0266C5211A41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9434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ry Automation 1 - Im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249B0-C7B5-2E3C-44BF-BFFCFE23101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573" y="5794088"/>
            <a:ext cx="8818467" cy="381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400" b="0" i="0" cap="none" spc="100" baseline="0">
                <a:solidFill>
                  <a:srgbClr val="1B365D"/>
                </a:solidFill>
                <a:latin typeface="Titillium Web SemiBold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TITLE (OPTIONAL)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1DA43A4-AE5C-30F5-3AAE-FB327124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72" y="5329482"/>
            <a:ext cx="8818467" cy="444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 descr="A black and grey logo&#10;&#10;Description automatically generated">
            <a:extLst>
              <a:ext uri="{FF2B5EF4-FFF2-40B4-BE49-F238E27FC236}">
                <a16:creationId xmlns:a16="http://schemas.microsoft.com/office/drawing/2014/main" id="{DF47FCB7-DA7D-6325-9D6F-DB2084D776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5257800"/>
            <a:ext cx="1564220" cy="1175656"/>
          </a:xfrm>
          <a:prstGeom prst="rect">
            <a:avLst/>
          </a:prstGeom>
        </p:spPr>
      </p:pic>
      <p:pic>
        <p:nvPicPr>
          <p:cNvPr id="2" name="Grafik 6">
            <a:extLst>
              <a:ext uri="{FF2B5EF4-FFF2-40B4-BE49-F238E27FC236}">
                <a16:creationId xmlns:a16="http://schemas.microsoft.com/office/drawing/2014/main" id="{45C1FE74-0617-C0BB-58ED-DBAE939F46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881794" cy="5153025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2D5CDE4B-41E3-18D2-7611-55F5836866A1}"/>
              </a:ext>
            </a:extLst>
          </p:cNvPr>
          <p:cNvSpPr/>
          <p:nvPr userDrawn="1"/>
        </p:nvSpPr>
        <p:spPr>
          <a:xfrm>
            <a:off x="518572" y="6292561"/>
            <a:ext cx="11292428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4442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2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FF79205-EE7C-F9B8-0FAC-73A9CDC3963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09600" y="1600200"/>
            <a:ext cx="10972165" cy="2140263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 b="1" i="0"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 dirty="0"/>
              <a:t>CLICK ON THE ICONS BELOW TO INSERT GRAPHICAL CONTENT (SMART ART, CHARTS, …).</a:t>
            </a:r>
          </a:p>
        </p:txBody>
      </p:sp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3" name="Inhaltsplatzhalter 6">
            <a:extLst>
              <a:ext uri="{FF2B5EF4-FFF2-40B4-BE49-F238E27FC236}">
                <a16:creationId xmlns:a16="http://schemas.microsoft.com/office/drawing/2014/main" id="{60F041AD-1725-9F44-F07D-34107FAF0557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09600" y="4031937"/>
            <a:ext cx="10972165" cy="2140263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 b="1" i="0"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 dirty="0"/>
              <a:t>CLICK ON THE ICONS BELOW TO INSERT GRAPHICAL CONTENT (SMART ART, CHARTS, …).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26EB6902-3682-A1A7-F858-A8F5261A6FC2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6181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 userDrawn="1">
          <p15:clr>
            <a:srgbClr val="FBAE40"/>
          </p15:clr>
        </p15:guide>
        <p15:guide id="3" orient="horz" pos="672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Graphic Stacke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FF79205-EE7C-F9B8-0FAC-73A9CDC3963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09600" y="1600200"/>
            <a:ext cx="10972165" cy="2140263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 b="1" i="0"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 dirty="0"/>
              <a:t>CLICK ON THE ICONS BELOW TO INSERT GRAPHICAL CONTENT (SMART ART, CHARTS, …).</a:t>
            </a:r>
          </a:p>
        </p:txBody>
      </p:sp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AFE6CCA-62CA-B2AD-BDD0-0EE37ACB91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3875" y="4031936"/>
            <a:ext cx="11058525" cy="2140264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3B11535F-A782-BE88-78F6-B78F8C7C90A0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902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Graphic Stacke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FF79205-EE7C-F9B8-0FAC-73A9CDC3963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10235" y="4028605"/>
            <a:ext cx="10972165" cy="2140263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 b="1" i="0"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 dirty="0"/>
              <a:t>CLICK ON THE ICONS BELOW TO INSERT GRAPHICAL CONTENT (SMART ART, CHARTS, …).</a:t>
            </a:r>
          </a:p>
        </p:txBody>
      </p:sp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5ED12016-D54E-BCD3-D2DE-61AE861876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875" y="1610688"/>
            <a:ext cx="11058525" cy="214026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915A9854-5B7E-C223-68E7-9C1A91BEC3FA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179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Graph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2FF79205-EE7C-F9B8-0FAC-73A9CDC3963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096000" y="304801"/>
            <a:ext cx="5486400" cy="5864068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 b="1" i="0"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 dirty="0"/>
              <a:t>CLICK ON THE ICONS BELOW TO INSERT GRAPHICAL CONTENT (SMART ART, CHARTS, …).</a:t>
            </a:r>
          </a:p>
        </p:txBody>
      </p:sp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51149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51149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7B4B65F-2F3E-D9F2-06FB-B59DD84CBC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876" y="1610688"/>
            <a:ext cx="5114290" cy="4561512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B99585BF-6061-68ED-9540-C735AEEB327E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7767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3" orient="horz" pos="672">
          <p15:clr>
            <a:srgbClr val="FBAE40"/>
          </p15:clr>
        </p15:guide>
        <p15:guide id="4" pos="355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E1702C1-95C6-03B3-D818-1D9090389071}"/>
              </a:ext>
            </a:extLst>
          </p:cNvPr>
          <p:cNvSpPr/>
          <p:nvPr userDrawn="1"/>
        </p:nvSpPr>
        <p:spPr>
          <a:xfrm>
            <a:off x="0" y="1408"/>
            <a:ext cx="12192000" cy="6172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3" name="Title Placeholder 12">
            <a:extLst>
              <a:ext uri="{FF2B5EF4-FFF2-40B4-BE49-F238E27FC236}">
                <a16:creationId xmlns:a16="http://schemas.microsoft.com/office/drawing/2014/main" id="{891A5E40-0F8A-9E40-D4D1-18EC63D82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73B974-EE63-5AE4-8D9B-A6DEA9C921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4" name="Inhaltsplatzhalter 6">
            <a:extLst>
              <a:ext uri="{FF2B5EF4-FFF2-40B4-BE49-F238E27FC236}">
                <a16:creationId xmlns:a16="http://schemas.microsoft.com/office/drawing/2014/main" id="{5103A4DD-4782-C70C-C61C-DD88663129B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437765" y="1600199"/>
            <a:ext cx="7315835" cy="4114801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 b="1" i="0"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 dirty="0"/>
              <a:t>CLICK ON THE VIDEO ICON BELOW TO INSERT CONTEN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81529E3-0ED1-7ABF-2C2C-8083ED1001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0" y="5867400"/>
            <a:ext cx="9144000" cy="304800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b"/>
          <a:lstStyle>
            <a:lvl1pPr marL="0" indent="0" algn="ctr">
              <a:buNone/>
              <a:defRPr sz="14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noProof="0" dirty="0"/>
              <a:t>SUBTITLE OF THIS VIDEO SLIDE: CLICK IN THE TEXT TO EDIT THE CONTENT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E90746B3-F477-BD70-9539-30B8750230B7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3628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Footer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27BD6C0-FA32-B997-B5F6-7C7844E16520}"/>
              </a:ext>
            </a:extLst>
          </p:cNvPr>
          <p:cNvSpPr/>
          <p:nvPr userDrawn="1"/>
        </p:nvSpPr>
        <p:spPr>
          <a:xfrm>
            <a:off x="0" y="6172200"/>
            <a:ext cx="12192000" cy="6858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Placeholder 12">
            <a:extLst>
              <a:ext uri="{FF2B5EF4-FFF2-40B4-BE49-F238E27FC236}">
                <a16:creationId xmlns:a16="http://schemas.microsoft.com/office/drawing/2014/main" id="{891A5E40-0F8A-9E40-D4D1-18EC63D82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lide Number Placeholder 9">
            <a:extLst>
              <a:ext uri="{FF2B5EF4-FFF2-40B4-BE49-F238E27FC236}">
                <a16:creationId xmlns:a16="http://schemas.microsoft.com/office/drawing/2014/main" id="{E2215D79-55E1-3435-DD78-F762C5F2CA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4426" y="6394137"/>
            <a:ext cx="2564574" cy="1590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bg1"/>
                </a:solidFill>
                <a:latin typeface="Lato Light" panose="020F0302020204030203" pitchFamily="34" charset="77"/>
              </a:defRPr>
            </a:lvl1pPr>
          </a:lstStyle>
          <a:p>
            <a:fld id="{D36A1B9F-4F6A-4327-8B00-596A0FFEE630}" type="slidenum">
              <a:rPr lang="en-US" smtClean="0"/>
              <a:pPr/>
              <a:t>‹#›</a:t>
            </a:fld>
            <a:r>
              <a:rPr lang="en-US" dirty="0"/>
              <a:t>        © Red Lion Control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73B974-EE63-5AE4-8D9B-A6DEA9C921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 i="0" spc="100" baseline="0">
                <a:solidFill>
                  <a:schemeClr val="tx2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4" name="Inhaltsplatzhalter 6">
            <a:extLst>
              <a:ext uri="{FF2B5EF4-FFF2-40B4-BE49-F238E27FC236}">
                <a16:creationId xmlns:a16="http://schemas.microsoft.com/office/drawing/2014/main" id="{5103A4DD-4782-C70C-C61C-DD88663129B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437765" y="1600199"/>
            <a:ext cx="7315835" cy="4114801"/>
          </a:xfrm>
          <a:prstGeom prst="rect">
            <a:avLst/>
          </a:pr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400" b="1" i="0"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 dirty="0"/>
              <a:t>CLICK ON THE VIDEO ICON BELOW TO INSERT CONTENT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7074D536-472B-5502-B06B-E9E5872490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907165" y="6394137"/>
            <a:ext cx="1760835" cy="1590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bg1"/>
                </a:solidFill>
                <a:latin typeface="Lato Light" panose="020F0302020204030203" pitchFamily="34" charset="77"/>
              </a:defRPr>
            </a:lvl1pPr>
          </a:lstStyle>
          <a:p>
            <a:fld id="{4A4D636F-E9EF-914F-AE97-1ED7C590C260}" type="datetime1">
              <a:rPr lang="en-US" smtClean="0"/>
              <a:pPr/>
              <a:t>4/3/2024</a:t>
            </a:fld>
            <a:endParaRPr lang="en-US" dirty="0"/>
          </a:p>
        </p:txBody>
      </p:sp>
      <p:sp>
        <p:nvSpPr>
          <p:cNvPr id="7" name="Freihandform 10">
            <a:extLst>
              <a:ext uri="{FF2B5EF4-FFF2-40B4-BE49-F238E27FC236}">
                <a16:creationId xmlns:a16="http://schemas.microsoft.com/office/drawing/2014/main" id="{B74780C8-8B50-9072-818B-35E6C16765E2}"/>
              </a:ext>
            </a:extLst>
          </p:cNvPr>
          <p:cNvSpPr>
            <a:spLocks noChangeAspect="1"/>
          </p:cNvSpPr>
          <p:nvPr userDrawn="1"/>
        </p:nvSpPr>
        <p:spPr>
          <a:xfrm>
            <a:off x="609600" y="6326252"/>
            <a:ext cx="240398" cy="240398"/>
          </a:xfrm>
          <a:custGeom>
            <a:avLst/>
            <a:gdLst>
              <a:gd name="connsiteX0" fmla="*/ 489283 w 3600000"/>
              <a:gd name="connsiteY0" fmla="*/ 1175159 h 3600000"/>
              <a:gd name="connsiteX1" fmla="*/ 489283 w 3600000"/>
              <a:gd name="connsiteY1" fmla="*/ 3113192 h 3600000"/>
              <a:gd name="connsiteX2" fmla="*/ 2427316 w 3600000"/>
              <a:gd name="connsiteY2" fmla="*/ 3113192 h 3600000"/>
              <a:gd name="connsiteX3" fmla="*/ 0 w 3600000"/>
              <a:gd name="connsiteY3" fmla="*/ 0 h 3600000"/>
              <a:gd name="connsiteX4" fmla="*/ 3600000 w 3600000"/>
              <a:gd name="connsiteY4" fmla="*/ 3600000 h 3600000"/>
              <a:gd name="connsiteX5" fmla="*/ 0 w 3600000"/>
              <a:gd name="connsiteY5" fmla="*/ 360000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0000" h="3600000">
                <a:moveTo>
                  <a:pt x="489283" y="1175159"/>
                </a:moveTo>
                <a:lnTo>
                  <a:pt x="489283" y="3113192"/>
                </a:lnTo>
                <a:lnTo>
                  <a:pt x="2427316" y="3113192"/>
                </a:lnTo>
                <a:close/>
                <a:moveTo>
                  <a:pt x="0" y="0"/>
                </a:moveTo>
                <a:lnTo>
                  <a:pt x="3600000" y="3600000"/>
                </a:lnTo>
                <a:lnTo>
                  <a:pt x="0" y="3600000"/>
                </a:lnTo>
                <a:close/>
              </a:path>
            </a:pathLst>
          </a:cu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AB2328"/>
              </a:solidFill>
            </a:endParaRP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372C5E1D-FCB4-BB6C-14BB-DF2E233EBCB5}"/>
              </a:ext>
            </a:extLst>
          </p:cNvPr>
          <p:cNvSpPr/>
          <p:nvPr userDrawn="1"/>
        </p:nvSpPr>
        <p:spPr>
          <a:xfrm>
            <a:off x="4917816" y="6172199"/>
            <a:ext cx="6893183" cy="533400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170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3B6869-01B3-B046-9D1F-AE7B0D594D7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2242820"/>
            <a:ext cx="525780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4E720B-A5E0-70F2-4CB6-B49A63514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600200"/>
            <a:ext cx="5257800" cy="4572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6ABB7FF-62A0-D89A-85B9-0913F89D02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24602" y="1600200"/>
            <a:ext cx="5257800" cy="45720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0C224B4-2D6B-1D59-C2A4-7155B409CFA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1444" y="2242820"/>
            <a:ext cx="525780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BEE3DD33-20A9-FC40-8555-D5AAA767E837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4815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3B6869-01B3-B046-9D1F-AE7B0D594D7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2242820"/>
            <a:ext cx="347472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4E720B-A5E0-70F2-4CB6-B49A63514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600200"/>
            <a:ext cx="3474720" cy="4572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6ABB7FF-62A0-D89A-85B9-0913F89D02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58640" y="1600200"/>
            <a:ext cx="3474720" cy="45720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0C224B4-2D6B-1D59-C2A4-7155B409CFA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58640" y="2242820"/>
            <a:ext cx="347472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FD67AA3-0AFF-3C74-B1FB-64001694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7680" y="1600200"/>
            <a:ext cx="3474720" cy="4572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0923E86-275C-FEB6-022F-A6E161A9BA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8107680" y="2242820"/>
            <a:ext cx="347472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5749968D-F45C-E30B-4386-2DE19CDBDF91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332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11058525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1105852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3B6869-01B3-B046-9D1F-AE7B0D594D7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2242820"/>
            <a:ext cx="265176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4E720B-A5E0-70F2-4CB6-B49A63514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600200"/>
            <a:ext cx="2651760" cy="4572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6ABB7FF-62A0-D89A-85B9-0913F89D02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75455" y="1600200"/>
            <a:ext cx="2651760" cy="45720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0C224B4-2D6B-1D59-C2A4-7155B409CFA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375455" y="2242820"/>
            <a:ext cx="265176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3FD67AA3-0AFF-3C74-B1FB-64001694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41310" y="1600200"/>
            <a:ext cx="2651760" cy="4572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D0923E86-275C-FEB6-022F-A6E161A9BA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141310" y="2242820"/>
            <a:ext cx="265176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59EA8D8-68D4-D2B4-22AB-BCCDDB8A51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907165" y="1600200"/>
            <a:ext cx="2651760" cy="45720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4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6AB20502-7BC1-2C37-CDE6-8676E76F0707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8920480" y="2242820"/>
            <a:ext cx="265176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BECFAB5C-6BBC-EAD2-78EF-38CA082BDC0C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76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1" y="152401"/>
            <a:ext cx="557276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275BCF7-68AD-368E-569A-A1D7CC84B1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6" y="838200"/>
            <a:ext cx="5572760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400" b="1" i="0" kern="1200" spc="100" baseline="0" dirty="0">
                <a:solidFill>
                  <a:schemeClr val="tx2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89ABE3"/>
              </a:buClr>
              <a:buSzPct val="80000"/>
              <a:buFont typeface="Courier New" panose="02070309020205020404" pitchFamily="49" charset="0"/>
              <a:buNone/>
            </a:pPr>
            <a:r>
              <a:rPr lang="en-US" dirty="0"/>
              <a:t>CLICK TO ADD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3B6869-01B3-B046-9D1F-AE7B0D594D7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2242820"/>
            <a:ext cx="265176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4E720B-A5E0-70F2-4CB6-B49A63514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600200"/>
            <a:ext cx="2651760" cy="45720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1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6ABB7FF-62A0-D89A-85B9-0913F89D02B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39160" y="1600200"/>
            <a:ext cx="2651760" cy="45720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600" b="1" i="0" spc="100" baseline="0">
                <a:solidFill>
                  <a:schemeClr val="bg1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0C224B4-2D6B-1D59-C2A4-7155B409CFA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439160" y="2242820"/>
            <a:ext cx="2651760" cy="3929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Font typeface="Courier New" panose="02070309020205020404" pitchFamily="49" charset="0"/>
              <a:buNone/>
              <a:defRPr sz="1600"/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16" name="Picture Placeholder 30">
            <a:extLst>
              <a:ext uri="{FF2B5EF4-FFF2-40B4-BE49-F238E27FC236}">
                <a16:creationId xmlns:a16="http://schemas.microsoft.com/office/drawing/2014/main" id="{19759DE7-EE74-EDA3-BF31-CF62A16637B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24600" y="-1"/>
            <a:ext cx="5849622" cy="6172200"/>
          </a:xfrm>
          <a:custGeom>
            <a:avLst/>
            <a:gdLst>
              <a:gd name="connsiteX0" fmla="*/ 0 w 5816600"/>
              <a:gd name="connsiteY0" fmla="*/ 0 h 5821363"/>
              <a:gd name="connsiteX1" fmla="*/ 5816600 w 5816600"/>
              <a:gd name="connsiteY1" fmla="*/ 0 h 5821363"/>
              <a:gd name="connsiteX2" fmla="*/ 5816600 w 5816600"/>
              <a:gd name="connsiteY2" fmla="*/ 5821363 h 5821363"/>
              <a:gd name="connsiteX3" fmla="*/ 969135 w 5816600"/>
              <a:gd name="connsiteY3" fmla="*/ 5821363 h 5821363"/>
              <a:gd name="connsiteX4" fmla="*/ 0 w 5816600"/>
              <a:gd name="connsiteY4" fmla="*/ 4852228 h 58213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16600" h="5821363">
                <a:moveTo>
                  <a:pt x="0" y="0"/>
                </a:moveTo>
                <a:lnTo>
                  <a:pt x="5816600" y="0"/>
                </a:lnTo>
                <a:lnTo>
                  <a:pt x="5816600" y="5821363"/>
                </a:lnTo>
                <a:lnTo>
                  <a:pt x="969135" y="5821363"/>
                </a:lnTo>
                <a:lnTo>
                  <a:pt x="0" y="4852228"/>
                </a:lnTo>
                <a:close/>
              </a:path>
            </a:pathLst>
          </a:custGeom>
          <a:pattFill prst="pct5">
            <a:fgClr>
              <a:schemeClr val="tx2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400" b="1" i="0" spc="100" baseline="0">
                <a:latin typeface="Titillium Web SemiBold" pitchFamily="2" charset="77"/>
              </a:defRPr>
            </a:lvl1pPr>
          </a:lstStyle>
          <a:p>
            <a:r>
              <a:rPr lang="en-US" dirty="0"/>
              <a:t>CLICK TO INSERT IMAGE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18A9A4BB-5243-FAFE-BFF3-FB9DF1FF6318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5322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ry Automation 2 - Im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249B0-C7B5-2E3C-44BF-BFFCFE23101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573" y="5794088"/>
            <a:ext cx="8818467" cy="381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400" b="0" i="0" cap="none" spc="100" baseline="0">
                <a:solidFill>
                  <a:srgbClr val="1B365D"/>
                </a:solidFill>
                <a:latin typeface="Titillium Web SemiBold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TITLE (OPTIONAL)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1DA43A4-AE5C-30F5-3AAE-FB327124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72" y="5329482"/>
            <a:ext cx="8818467" cy="444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 descr="A black and grey logo&#10;&#10;Description automatically generated">
            <a:extLst>
              <a:ext uri="{FF2B5EF4-FFF2-40B4-BE49-F238E27FC236}">
                <a16:creationId xmlns:a16="http://schemas.microsoft.com/office/drawing/2014/main" id="{DF47FCB7-DA7D-6325-9D6F-DB2084D776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5257800"/>
            <a:ext cx="1564220" cy="1175656"/>
          </a:xfrm>
          <a:prstGeom prst="rect">
            <a:avLst/>
          </a:prstGeom>
        </p:spPr>
      </p:pic>
      <p:pic>
        <p:nvPicPr>
          <p:cNvPr id="4" name="Grafik 6">
            <a:extLst>
              <a:ext uri="{FF2B5EF4-FFF2-40B4-BE49-F238E27FC236}">
                <a16:creationId xmlns:a16="http://schemas.microsoft.com/office/drawing/2014/main" id="{4436A235-2383-EBEA-3EA8-DBAE45400E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1602"/>
            <a:ext cx="12192000" cy="5163335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878F2C19-2164-D710-C918-73D39EB6DBEE}"/>
              </a:ext>
            </a:extLst>
          </p:cNvPr>
          <p:cNvSpPr/>
          <p:nvPr userDrawn="1"/>
        </p:nvSpPr>
        <p:spPr>
          <a:xfrm>
            <a:off x="518572" y="6292561"/>
            <a:ext cx="11292428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9507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31952D-6F1D-B8F5-D938-DBD5BE947D1D}"/>
              </a:ext>
            </a:extLst>
          </p:cNvPr>
          <p:cNvSpPr/>
          <p:nvPr userDrawn="1"/>
        </p:nvSpPr>
        <p:spPr>
          <a:xfrm>
            <a:off x="0" y="0"/>
            <a:ext cx="12192000" cy="6172200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Placeholder 12">
            <a:extLst>
              <a:ext uri="{FF2B5EF4-FFF2-40B4-BE49-F238E27FC236}">
                <a16:creationId xmlns:a16="http://schemas.microsoft.com/office/drawing/2014/main" id="{F7CEB2E8-AB5A-C8C8-7997-E9EB0CC4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0" y="2219326"/>
            <a:ext cx="838200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Freihandform 1">
            <a:extLst>
              <a:ext uri="{FF2B5EF4-FFF2-40B4-BE49-F238E27FC236}">
                <a16:creationId xmlns:a16="http://schemas.microsoft.com/office/drawing/2014/main" id="{A6A13A79-BA4D-8055-ECAD-7DA7972D13D1}"/>
              </a:ext>
            </a:extLst>
          </p:cNvPr>
          <p:cNvSpPr>
            <a:spLocks noChangeAspect="1"/>
          </p:cNvSpPr>
          <p:nvPr userDrawn="1"/>
        </p:nvSpPr>
        <p:spPr>
          <a:xfrm>
            <a:off x="609600" y="1635125"/>
            <a:ext cx="1793875" cy="1793875"/>
          </a:xfrm>
          <a:custGeom>
            <a:avLst/>
            <a:gdLst>
              <a:gd name="connsiteX0" fmla="*/ 489283 w 3600000"/>
              <a:gd name="connsiteY0" fmla="*/ 1175159 h 3600000"/>
              <a:gd name="connsiteX1" fmla="*/ 489283 w 3600000"/>
              <a:gd name="connsiteY1" fmla="*/ 3113192 h 3600000"/>
              <a:gd name="connsiteX2" fmla="*/ 2427316 w 3600000"/>
              <a:gd name="connsiteY2" fmla="*/ 3113192 h 3600000"/>
              <a:gd name="connsiteX3" fmla="*/ 0 w 3600000"/>
              <a:gd name="connsiteY3" fmla="*/ 0 h 3600000"/>
              <a:gd name="connsiteX4" fmla="*/ 3600000 w 3600000"/>
              <a:gd name="connsiteY4" fmla="*/ 3600000 h 3600000"/>
              <a:gd name="connsiteX5" fmla="*/ 0 w 3600000"/>
              <a:gd name="connsiteY5" fmla="*/ 360000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0000" h="3600000">
                <a:moveTo>
                  <a:pt x="489283" y="1175159"/>
                </a:moveTo>
                <a:lnTo>
                  <a:pt x="489283" y="3113192"/>
                </a:lnTo>
                <a:lnTo>
                  <a:pt x="2427316" y="3113192"/>
                </a:lnTo>
                <a:close/>
                <a:moveTo>
                  <a:pt x="0" y="0"/>
                </a:moveTo>
                <a:lnTo>
                  <a:pt x="3600000" y="3600000"/>
                </a:lnTo>
                <a:lnTo>
                  <a:pt x="0" y="3600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>
              <a:solidFill>
                <a:srgbClr val="AB2328"/>
              </a:solidFill>
            </a:endParaRPr>
          </a:p>
        </p:txBody>
      </p:sp>
      <p:sp>
        <p:nvSpPr>
          <p:cNvPr id="3" name="Freeform 5">
            <a:extLst>
              <a:ext uri="{FF2B5EF4-FFF2-40B4-BE49-F238E27FC236}">
                <a16:creationId xmlns:a16="http://schemas.microsoft.com/office/drawing/2014/main" id="{FAC8FA60-1DD9-50BD-7617-51804AE67A29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0143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nip Single Corner Rectangle 3">
            <a:extLst>
              <a:ext uri="{FF2B5EF4-FFF2-40B4-BE49-F238E27FC236}">
                <a16:creationId xmlns:a16="http://schemas.microsoft.com/office/drawing/2014/main" id="{8932C809-9029-91B4-7D8F-7992875DC2FA}"/>
              </a:ext>
            </a:extLst>
          </p:cNvPr>
          <p:cNvSpPr/>
          <p:nvPr userDrawn="1"/>
        </p:nvSpPr>
        <p:spPr>
          <a:xfrm rot="10800000">
            <a:off x="6090920" y="0"/>
            <a:ext cx="6096000" cy="6172200"/>
          </a:xfrm>
          <a:prstGeom prst="snip1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black and grey logo&#10;&#10;Description automatically generated">
            <a:extLst>
              <a:ext uri="{FF2B5EF4-FFF2-40B4-BE49-F238E27FC236}">
                <a16:creationId xmlns:a16="http://schemas.microsoft.com/office/drawing/2014/main" id="{7BB109A8-219A-F273-E4F0-9C90028569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1668780"/>
            <a:ext cx="4289399" cy="2438400"/>
          </a:xfrm>
          <a:prstGeom prst="rect">
            <a:avLst/>
          </a:prstGeom>
        </p:spPr>
      </p:pic>
      <p:sp>
        <p:nvSpPr>
          <p:cNvPr id="8" name="Textfeld 10">
            <a:extLst>
              <a:ext uri="{FF2B5EF4-FFF2-40B4-BE49-F238E27FC236}">
                <a16:creationId xmlns:a16="http://schemas.microsoft.com/office/drawing/2014/main" id="{B39F479F-98EF-FDB7-79EA-97AC58A3A562}"/>
              </a:ext>
            </a:extLst>
          </p:cNvPr>
          <p:cNvSpPr txBox="1"/>
          <p:nvPr userDrawn="1"/>
        </p:nvSpPr>
        <p:spPr>
          <a:xfrm>
            <a:off x="6090920" y="2438400"/>
            <a:ext cx="6096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spc="100" baseline="0" noProof="0" dirty="0">
                <a:solidFill>
                  <a:schemeClr val="bg1"/>
                </a:solidFill>
                <a:latin typeface="Titillium" pitchFamily="2" charset="77"/>
              </a:rPr>
              <a:t>FOR MORE INFORMATION</a:t>
            </a:r>
          </a:p>
        </p:txBody>
      </p:sp>
      <p:sp>
        <p:nvSpPr>
          <p:cNvPr id="10" name="Textfeld 11">
            <a:hlinkClick r:id="rId3"/>
            <a:extLst>
              <a:ext uri="{FF2B5EF4-FFF2-40B4-BE49-F238E27FC236}">
                <a16:creationId xmlns:a16="http://schemas.microsoft.com/office/drawing/2014/main" id="{496EE554-3580-EE97-6820-B0CE183715EE}"/>
              </a:ext>
            </a:extLst>
          </p:cNvPr>
          <p:cNvSpPr txBox="1"/>
          <p:nvPr userDrawn="1"/>
        </p:nvSpPr>
        <p:spPr>
          <a:xfrm>
            <a:off x="6090920" y="2761714"/>
            <a:ext cx="6096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u="none" noProof="0" dirty="0">
                <a:solidFill>
                  <a:schemeClr val="bg1"/>
                </a:solidFill>
                <a:latin typeface="Titillium" pitchFamily="2" charset="77"/>
              </a:rPr>
              <a:t>redlion.net</a:t>
            </a:r>
          </a:p>
        </p:txBody>
      </p:sp>
      <p:sp>
        <p:nvSpPr>
          <p:cNvPr id="2" name="Freihandform 14">
            <a:extLst>
              <a:ext uri="{FF2B5EF4-FFF2-40B4-BE49-F238E27FC236}">
                <a16:creationId xmlns:a16="http://schemas.microsoft.com/office/drawing/2014/main" id="{0991C9A1-A831-B44A-A21F-5759C0041A33}"/>
              </a:ext>
            </a:extLst>
          </p:cNvPr>
          <p:cNvSpPr>
            <a:spLocks/>
          </p:cNvSpPr>
          <p:nvPr userDrawn="1"/>
        </p:nvSpPr>
        <p:spPr>
          <a:xfrm>
            <a:off x="6096000" y="1"/>
            <a:ext cx="6096000" cy="5842000"/>
          </a:xfrm>
          <a:custGeom>
            <a:avLst/>
            <a:gdLst>
              <a:gd name="connsiteX0" fmla="*/ 0 w 6096000"/>
              <a:gd name="connsiteY0" fmla="*/ 0 h 5842000"/>
              <a:gd name="connsiteX1" fmla="*/ 6096000 w 6096000"/>
              <a:gd name="connsiteY1" fmla="*/ 0 h 5842000"/>
              <a:gd name="connsiteX2" fmla="*/ 6096000 w 6096000"/>
              <a:gd name="connsiteY2" fmla="*/ 5842000 h 5842000"/>
              <a:gd name="connsiteX3" fmla="*/ 507999 w 6096000"/>
              <a:gd name="connsiteY3" fmla="*/ 5842000 h 5842000"/>
              <a:gd name="connsiteX4" fmla="*/ 0 w 6096000"/>
              <a:gd name="connsiteY4" fmla="*/ 5334001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842000">
                <a:moveTo>
                  <a:pt x="0" y="0"/>
                </a:moveTo>
                <a:lnTo>
                  <a:pt x="6096000" y="0"/>
                </a:lnTo>
                <a:lnTo>
                  <a:pt x="6096000" y="5842000"/>
                </a:lnTo>
                <a:lnTo>
                  <a:pt x="507999" y="5842000"/>
                </a:lnTo>
                <a:lnTo>
                  <a:pt x="0" y="5334001"/>
                </a:lnTo>
                <a:close/>
              </a:path>
            </a:pathLst>
          </a:cu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sp>
        <p:nvSpPr>
          <p:cNvPr id="3" name="Textfeld 10">
            <a:extLst>
              <a:ext uri="{FF2B5EF4-FFF2-40B4-BE49-F238E27FC236}">
                <a16:creationId xmlns:a16="http://schemas.microsoft.com/office/drawing/2014/main" id="{DE16792A-0A51-9252-F4C6-7109753E2E8A}"/>
              </a:ext>
            </a:extLst>
          </p:cNvPr>
          <p:cNvSpPr txBox="1"/>
          <p:nvPr userDrawn="1"/>
        </p:nvSpPr>
        <p:spPr>
          <a:xfrm>
            <a:off x="7245847" y="2084496"/>
            <a:ext cx="3792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noProof="0" dirty="0">
                <a:solidFill>
                  <a:schemeClr val="bg1"/>
                </a:solidFill>
                <a:latin typeface="Titillium" pitchFamily="2" charset="77"/>
              </a:rPr>
              <a:t>for more information</a:t>
            </a:r>
          </a:p>
        </p:txBody>
      </p:sp>
      <p:sp>
        <p:nvSpPr>
          <p:cNvPr id="5" name="Textfeld 11">
            <a:hlinkClick r:id="rId3"/>
            <a:extLst>
              <a:ext uri="{FF2B5EF4-FFF2-40B4-BE49-F238E27FC236}">
                <a16:creationId xmlns:a16="http://schemas.microsoft.com/office/drawing/2014/main" id="{C686610A-FAE2-A66F-5762-1A911ADBB224}"/>
              </a:ext>
            </a:extLst>
          </p:cNvPr>
          <p:cNvSpPr txBox="1"/>
          <p:nvPr userDrawn="1"/>
        </p:nvSpPr>
        <p:spPr>
          <a:xfrm>
            <a:off x="6958852" y="2590489"/>
            <a:ext cx="437029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u="none" noProof="0" dirty="0">
                <a:solidFill>
                  <a:schemeClr val="bg1"/>
                </a:solidFill>
                <a:latin typeface="Titillium" pitchFamily="2" charset="77"/>
              </a:rPr>
              <a:t>redlion.net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7CB31ED3-74FD-399F-0404-94BDB3E046B9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321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08">
          <p15:clr>
            <a:srgbClr val="FBAE40"/>
          </p15:clr>
        </p15:guide>
        <p15:guide id="2" orient="horz" pos="4176">
          <p15:clr>
            <a:srgbClr val="FBAE40"/>
          </p15:clr>
        </p15:guide>
        <p15:guide id="3" orient="horz" pos="67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CE3F69D-8456-438E-A2E9-AB193D29E8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3947311"/>
            <a:ext cx="2519806" cy="1894688"/>
          </a:xfrm>
          <a:prstGeom prst="rect">
            <a:avLst/>
          </a:prstGeom>
          <a:noFill/>
        </p:spPr>
        <p:txBody>
          <a:bodyPr/>
          <a:lstStyle>
            <a:lvl1pPr marL="285750" indent="-285750">
              <a:lnSpc>
                <a:spcPct val="100000"/>
              </a:lnSpc>
              <a:buClr>
                <a:srgbClr val="89ABE3"/>
              </a:buClr>
              <a:buFont typeface="Courier New" panose="02070309020205020404" pitchFamily="49" charset="0"/>
              <a:buChar char="o"/>
              <a:defRPr sz="140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742950" indent="-285750">
              <a:lnSpc>
                <a:spcPct val="100000"/>
              </a:lnSpc>
              <a:buClr>
                <a:srgbClr val="89ABE3"/>
              </a:buClr>
              <a:buFont typeface="Courier New" panose="02070309020205020404" pitchFamily="49" charset="0"/>
              <a:buChar char="o"/>
              <a:defRPr sz="160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</a:lstStyle>
          <a:p>
            <a:pPr lvl="0"/>
            <a:r>
              <a:rPr lang="en-US" noProof="0"/>
              <a:t>Click to edit the text.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BB1FD88E-0324-A0C9-CCF8-6DBE262D2E4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597" y="920236"/>
            <a:ext cx="10887077" cy="45136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 b="1" cap="none" baseline="0">
                <a:solidFill>
                  <a:srgbClr val="1B365D"/>
                </a:solidFill>
                <a:latin typeface="Titillium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title of this slide: Click in the text to edit the content</a:t>
            </a:r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EF4A6E74-C269-1753-F21A-C2DAEFA54463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06775" y="375105"/>
            <a:ext cx="9688692" cy="5957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AB2328"/>
                </a:solidFill>
                <a:latin typeface="Titillium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itle of this 4 column slide for editing</a:t>
            </a:r>
          </a:p>
        </p:txBody>
      </p:sp>
      <p:sp>
        <p:nvSpPr>
          <p:cNvPr id="3" name="Textplatzhalter 12">
            <a:extLst>
              <a:ext uri="{FF2B5EF4-FFF2-40B4-BE49-F238E27FC236}">
                <a16:creationId xmlns:a16="http://schemas.microsoft.com/office/drawing/2014/main" id="{7ACA4F1E-64EC-A607-6E71-D581BDCF7C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0538" y="3947311"/>
            <a:ext cx="2519806" cy="1894688"/>
          </a:xfrm>
          <a:prstGeom prst="rect">
            <a:avLst/>
          </a:prstGeom>
          <a:noFill/>
        </p:spPr>
        <p:txBody>
          <a:bodyPr/>
          <a:lstStyle>
            <a:lvl1pPr marL="285750" indent="-285750">
              <a:lnSpc>
                <a:spcPct val="100000"/>
              </a:lnSpc>
              <a:buClr>
                <a:srgbClr val="89ABE3"/>
              </a:buClr>
              <a:buFont typeface="Courier New" panose="02070309020205020404" pitchFamily="49" charset="0"/>
              <a:buChar char="o"/>
              <a:defRPr sz="140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742950" indent="-285750">
              <a:lnSpc>
                <a:spcPct val="100000"/>
              </a:lnSpc>
              <a:buClr>
                <a:srgbClr val="89ABE3"/>
              </a:buClr>
              <a:buFont typeface="Courier New" panose="02070309020205020404" pitchFamily="49" charset="0"/>
              <a:buChar char="o"/>
              <a:defRPr sz="160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</a:lstStyle>
          <a:p>
            <a:pPr lvl="0"/>
            <a:r>
              <a:rPr lang="en-US" noProof="0"/>
              <a:t>Click to edit the text.</a:t>
            </a:r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3D3BC552-C106-6E9C-A329-8691F49ECE9A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02373" y="1647207"/>
            <a:ext cx="2519806" cy="613230"/>
          </a:xfrm>
          <a:prstGeom prst="rect">
            <a:avLst/>
          </a:prstGeom>
          <a:solidFill>
            <a:srgbClr val="AB2328"/>
          </a:solidFill>
        </p:spPr>
        <p:txBody>
          <a:bodyPr anchor="ctr"/>
          <a:lstStyle>
            <a:lvl1pPr marL="0" indent="0" algn="ctr">
              <a:lnSpc>
                <a:spcPct val="120000"/>
              </a:lnSpc>
              <a:buNone/>
              <a:defRPr sz="1600" b="0" cap="none" baseline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Header Column 1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1C0747ED-9CF4-C190-CBB0-2CC49464F0CF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3460538" y="1647207"/>
            <a:ext cx="2519806" cy="613230"/>
          </a:xfrm>
          <a:prstGeom prst="rect">
            <a:avLst/>
          </a:prstGeom>
          <a:solidFill>
            <a:srgbClr val="1B365D"/>
          </a:solidFill>
        </p:spPr>
        <p:txBody>
          <a:bodyPr anchor="ctr"/>
          <a:lstStyle>
            <a:lvl1pPr marL="0" indent="0" algn="ctr">
              <a:lnSpc>
                <a:spcPct val="120000"/>
              </a:lnSpc>
              <a:buNone/>
              <a:defRPr sz="1600" b="0" cap="none" baseline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Header Column 2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479D7473-F6F6-D481-3B00-1AF926B426BF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18703" y="1647207"/>
            <a:ext cx="2519806" cy="613230"/>
          </a:xfrm>
          <a:prstGeom prst="rect">
            <a:avLst/>
          </a:prstGeom>
          <a:solidFill>
            <a:srgbClr val="AB2328"/>
          </a:solidFill>
        </p:spPr>
        <p:txBody>
          <a:bodyPr anchor="ctr"/>
          <a:lstStyle>
            <a:lvl1pPr marL="0" indent="0" algn="ctr">
              <a:lnSpc>
                <a:spcPct val="120000"/>
              </a:lnSpc>
              <a:buNone/>
              <a:defRPr sz="1600" b="0" cap="none" baseline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Header Column 3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C9FE6119-BCB1-C9A8-DEB7-BFB4FC416E3C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8976868" y="1647207"/>
            <a:ext cx="2519806" cy="613230"/>
          </a:xfrm>
          <a:prstGeom prst="rect">
            <a:avLst/>
          </a:prstGeom>
          <a:solidFill>
            <a:srgbClr val="1B365D"/>
          </a:solidFill>
        </p:spPr>
        <p:txBody>
          <a:bodyPr anchor="ctr"/>
          <a:lstStyle>
            <a:lvl1pPr marL="0" indent="0" algn="ctr">
              <a:lnSpc>
                <a:spcPct val="120000"/>
              </a:lnSpc>
              <a:buNone/>
              <a:defRPr sz="1600" b="0" cap="none" baseline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Header Column 4</a:t>
            </a:r>
          </a:p>
        </p:txBody>
      </p:sp>
      <p:sp>
        <p:nvSpPr>
          <p:cNvPr id="8" name="Textplatzhalter 12">
            <a:extLst>
              <a:ext uri="{FF2B5EF4-FFF2-40B4-BE49-F238E27FC236}">
                <a16:creationId xmlns:a16="http://schemas.microsoft.com/office/drawing/2014/main" id="{1A62D7A3-73FF-5272-577F-1D54EA94B64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25751" y="3947311"/>
            <a:ext cx="2519806" cy="1894688"/>
          </a:xfrm>
          <a:prstGeom prst="rect">
            <a:avLst/>
          </a:prstGeom>
          <a:noFill/>
        </p:spPr>
        <p:txBody>
          <a:bodyPr/>
          <a:lstStyle>
            <a:lvl1pPr marL="285750" indent="-285750">
              <a:lnSpc>
                <a:spcPct val="100000"/>
              </a:lnSpc>
              <a:buClr>
                <a:srgbClr val="89ABE3"/>
              </a:buClr>
              <a:buFont typeface="Courier New" panose="02070309020205020404" pitchFamily="49" charset="0"/>
              <a:buChar char="o"/>
              <a:defRPr sz="140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742950" indent="-285750">
              <a:lnSpc>
                <a:spcPct val="100000"/>
              </a:lnSpc>
              <a:buClr>
                <a:srgbClr val="89ABE3"/>
              </a:buClr>
              <a:buFont typeface="Courier New" panose="02070309020205020404" pitchFamily="49" charset="0"/>
              <a:buChar char="o"/>
              <a:defRPr sz="160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</a:lstStyle>
          <a:p>
            <a:pPr lvl="0"/>
            <a:r>
              <a:rPr lang="en-US" noProof="0"/>
              <a:t>Click to edit the text.</a:t>
            </a:r>
          </a:p>
        </p:txBody>
      </p:sp>
      <p:sp>
        <p:nvSpPr>
          <p:cNvPr id="9" name="Textplatzhalter 12">
            <a:extLst>
              <a:ext uri="{FF2B5EF4-FFF2-40B4-BE49-F238E27FC236}">
                <a16:creationId xmlns:a16="http://schemas.microsoft.com/office/drawing/2014/main" id="{25B4BDD0-982A-A127-6E3B-2FB25007266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76868" y="3947311"/>
            <a:ext cx="2519806" cy="1894688"/>
          </a:xfrm>
          <a:prstGeom prst="rect">
            <a:avLst/>
          </a:prstGeom>
          <a:noFill/>
        </p:spPr>
        <p:txBody>
          <a:bodyPr/>
          <a:lstStyle>
            <a:lvl1pPr marL="285750" indent="-285750">
              <a:lnSpc>
                <a:spcPct val="100000"/>
              </a:lnSpc>
              <a:buClr>
                <a:srgbClr val="89ABE3"/>
              </a:buClr>
              <a:buFont typeface="Courier New" panose="02070309020205020404" pitchFamily="49" charset="0"/>
              <a:buChar char="o"/>
              <a:defRPr sz="140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742950" indent="-285750">
              <a:lnSpc>
                <a:spcPct val="100000"/>
              </a:lnSpc>
              <a:buClr>
                <a:srgbClr val="89ABE3"/>
              </a:buClr>
              <a:buFont typeface="Courier New" panose="02070309020205020404" pitchFamily="49" charset="0"/>
              <a:buChar char="o"/>
              <a:defRPr sz="160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</a:lstStyle>
          <a:p>
            <a:pPr lvl="0"/>
            <a:r>
              <a:rPr lang="en-US" noProof="0"/>
              <a:t>Click to edit the text.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D823236E-AC60-339C-D668-2F5B3946F45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701675" y="2354263"/>
            <a:ext cx="2520950" cy="1447800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endParaRPr lang="en-IN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44BEAD5D-6F8F-85E5-8C9D-28D0CBF6C9C5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460750" y="2354263"/>
            <a:ext cx="2519363" cy="1447800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pPr lvl="0"/>
            <a:endParaRPr lang="en-IN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BE85DFB2-3421-BA92-9757-7BDA228D5A8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18238" y="2354263"/>
            <a:ext cx="2519362" cy="14478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IN" dirty="0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BC290C1D-7672-2601-7961-9C577522BEE4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975725" y="2354263"/>
            <a:ext cx="2514600" cy="14478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6307828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CE3F69D-8456-438E-A2E9-AB193D29E8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1840088"/>
            <a:ext cx="4910668" cy="4001911"/>
          </a:xfrm>
          <a:prstGeom prst="rect">
            <a:avLst/>
          </a:prstGeom>
          <a:noFill/>
        </p:spPr>
        <p:txBody>
          <a:bodyPr/>
          <a:lstStyle>
            <a:lvl1pPr marL="285750" indent="-285750">
              <a:lnSpc>
                <a:spcPct val="100000"/>
              </a:lnSpc>
              <a:buClr>
                <a:srgbClr val="89ABE3"/>
              </a:buClr>
              <a:buFont typeface="Courier New" panose="02070309020205020404" pitchFamily="49" charset="0"/>
              <a:buChar char="o"/>
              <a:defRPr sz="140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742950" indent="-285750">
              <a:lnSpc>
                <a:spcPct val="100000"/>
              </a:lnSpc>
              <a:buClr>
                <a:srgbClr val="89ABE3"/>
              </a:buClr>
              <a:buFont typeface="Courier New" panose="02070309020205020404" pitchFamily="49" charset="0"/>
              <a:buChar char="o"/>
              <a:defRPr sz="160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</a:lstStyle>
          <a:p>
            <a:pPr lvl="0"/>
            <a:r>
              <a:rPr lang="en-US" noProof="0"/>
              <a:t>Click to edit the text. Optional subhead in red (#ab2328, like the title).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55593E3-B63E-8535-BDD4-3E1B2A3779B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096000" y="476249"/>
            <a:ext cx="5400675" cy="536575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algn="ctr"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r>
              <a:rPr lang="en-US" noProof="0"/>
              <a:t>Click on the icons below to insert graphical content (Smart Art, Charts, …).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BB1FD88E-0324-A0C9-CCF8-6DBE262D2E4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598" y="920236"/>
            <a:ext cx="5021050" cy="67714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 b="1" cap="none" baseline="0">
                <a:solidFill>
                  <a:srgbClr val="1B365D"/>
                </a:solidFill>
                <a:latin typeface="Titillium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title of this slide: Click in the text to edit the content (max. 2 lines)</a:t>
            </a:r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740BCE2A-601C-A876-3D02-31EC3C5C170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06775" y="375105"/>
            <a:ext cx="5164667" cy="5957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AB2328"/>
                </a:solidFill>
                <a:latin typeface="Titillium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Title of this Slide for editing</a:t>
            </a:r>
          </a:p>
        </p:txBody>
      </p:sp>
    </p:spTree>
    <p:extLst>
      <p:ext uri="{BB962C8B-B14F-4D97-AF65-F5344CB8AC3E}">
        <p14:creationId xmlns:p14="http://schemas.microsoft.com/office/powerpoint/2010/main" val="832089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CE3F69D-8456-438E-A2E9-AB193D29E8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840088"/>
            <a:ext cx="10887073" cy="4001911"/>
          </a:xfrm>
          <a:prstGeom prst="rect">
            <a:avLst/>
          </a:prstGeom>
          <a:noFill/>
        </p:spPr>
        <p:txBody>
          <a:bodyPr/>
          <a:lstStyle>
            <a:lvl1pPr marL="285750" indent="-285750">
              <a:lnSpc>
                <a:spcPct val="100000"/>
              </a:lnSpc>
              <a:buClr>
                <a:srgbClr val="89ABE3"/>
              </a:buClr>
              <a:buFont typeface="Courier New" panose="02070309020205020404" pitchFamily="49" charset="0"/>
              <a:buChar char="o"/>
              <a:defRPr sz="140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742950" indent="-285750">
              <a:lnSpc>
                <a:spcPct val="100000"/>
              </a:lnSpc>
              <a:buClr>
                <a:srgbClr val="89ABE3"/>
              </a:buClr>
              <a:buFont typeface="Courier New" panose="02070309020205020404" pitchFamily="49" charset="0"/>
              <a:buChar char="o"/>
              <a:defRPr sz="160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</a:lstStyle>
          <a:p>
            <a:pPr lvl="0"/>
            <a:r>
              <a:rPr lang="en-US" noProof="0"/>
              <a:t>Click to edit the text. Optional subhead in red (#ab2328, like the title).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BB1FD88E-0324-A0C9-CCF8-6DBE262D2E4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597" y="920236"/>
            <a:ext cx="10887077" cy="67714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None/>
              <a:defRPr sz="1600" b="1" cap="none" baseline="0">
                <a:solidFill>
                  <a:srgbClr val="1B365D"/>
                </a:solidFill>
                <a:latin typeface="Titillium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Subtitle of this slide: Click in the text to edit the content (max. 2 lines)</a:t>
            </a:r>
          </a:p>
        </p:txBody>
      </p:sp>
      <p:sp>
        <p:nvSpPr>
          <p:cNvPr id="2" name="Textplatzhalter 2">
            <a:extLst>
              <a:ext uri="{FF2B5EF4-FFF2-40B4-BE49-F238E27FC236}">
                <a16:creationId xmlns:a16="http://schemas.microsoft.com/office/drawing/2014/main" id="{EF4A6E74-C269-1753-F21A-C2DAEFA54463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06775" y="375105"/>
            <a:ext cx="9688692" cy="5957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rgbClr val="AB2328"/>
                </a:solidFill>
                <a:latin typeface="Titillium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Title of this Slide for editing</a:t>
            </a:r>
          </a:p>
        </p:txBody>
      </p:sp>
    </p:spTree>
    <p:extLst>
      <p:ext uri="{BB962C8B-B14F-4D97-AF65-F5344CB8AC3E}">
        <p14:creationId xmlns:p14="http://schemas.microsoft.com/office/powerpoint/2010/main" val="1130805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ory Automation 3 - Im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249B0-C7B5-2E3C-44BF-BFFCFE23101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573" y="5794088"/>
            <a:ext cx="8818467" cy="381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400" b="0" i="0" cap="none" spc="100" baseline="0">
                <a:solidFill>
                  <a:srgbClr val="1B365D"/>
                </a:solidFill>
                <a:latin typeface="Titillium Web SemiBold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TITLE (OPTIONAL)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1DA43A4-AE5C-30F5-3AAE-FB327124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72" y="5329482"/>
            <a:ext cx="8818467" cy="444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 descr="A black and grey logo&#10;&#10;Description automatically generated">
            <a:extLst>
              <a:ext uri="{FF2B5EF4-FFF2-40B4-BE49-F238E27FC236}">
                <a16:creationId xmlns:a16="http://schemas.microsoft.com/office/drawing/2014/main" id="{DF47FCB7-DA7D-6325-9D6F-DB2084D776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5257800"/>
            <a:ext cx="1564220" cy="1175656"/>
          </a:xfrm>
          <a:prstGeom prst="rect">
            <a:avLst/>
          </a:prstGeom>
        </p:spPr>
      </p:pic>
      <p:pic>
        <p:nvPicPr>
          <p:cNvPr id="2" name="Grafik 6">
            <a:extLst>
              <a:ext uri="{FF2B5EF4-FFF2-40B4-BE49-F238E27FC236}">
                <a16:creationId xmlns:a16="http://schemas.microsoft.com/office/drawing/2014/main" id="{8BA994A6-D098-B82B-2C81-7CE856E336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0310"/>
            <a:ext cx="12192000" cy="5163335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3B18128D-9093-99FD-EED6-A851B59D9C09}"/>
              </a:ext>
            </a:extLst>
          </p:cNvPr>
          <p:cNvSpPr/>
          <p:nvPr userDrawn="1"/>
        </p:nvSpPr>
        <p:spPr>
          <a:xfrm>
            <a:off x="518572" y="6292561"/>
            <a:ext cx="11292428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961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ste + Wastewater - Im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249B0-C7B5-2E3C-44BF-BFFCFE23101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573" y="5794088"/>
            <a:ext cx="8818467" cy="381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400" b="0" i="0" cap="none" spc="100" baseline="0">
                <a:solidFill>
                  <a:srgbClr val="1B365D"/>
                </a:solidFill>
                <a:latin typeface="Titillium Web SemiBold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TITLE (OPTIONAL)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1DA43A4-AE5C-30F5-3AAE-FB327124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72" y="5329482"/>
            <a:ext cx="8818467" cy="444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 descr="A black and grey logo&#10;&#10;Description automatically generated">
            <a:extLst>
              <a:ext uri="{FF2B5EF4-FFF2-40B4-BE49-F238E27FC236}">
                <a16:creationId xmlns:a16="http://schemas.microsoft.com/office/drawing/2014/main" id="{DF47FCB7-DA7D-6325-9D6F-DB2084D776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5257800"/>
            <a:ext cx="1564220" cy="1175656"/>
          </a:xfrm>
          <a:prstGeom prst="rect">
            <a:avLst/>
          </a:prstGeom>
        </p:spPr>
      </p:pic>
      <p:pic>
        <p:nvPicPr>
          <p:cNvPr id="4" name="Grafik 6">
            <a:extLst>
              <a:ext uri="{FF2B5EF4-FFF2-40B4-BE49-F238E27FC236}">
                <a16:creationId xmlns:a16="http://schemas.microsoft.com/office/drawing/2014/main" id="{D28DA5FD-50AA-107F-3B32-2A4B443F47E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0310"/>
            <a:ext cx="12192000" cy="5163335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384820CA-64C4-47DC-FBDD-87BEEC9E38FD}"/>
              </a:ext>
            </a:extLst>
          </p:cNvPr>
          <p:cNvSpPr/>
          <p:nvPr userDrawn="1"/>
        </p:nvSpPr>
        <p:spPr>
          <a:xfrm>
            <a:off x="518572" y="6292561"/>
            <a:ext cx="11292428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2267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newable Energy 1 - Im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249B0-C7B5-2E3C-44BF-BFFCFE23101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573" y="5794088"/>
            <a:ext cx="8818467" cy="381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400" b="0" i="0" cap="none" spc="100" baseline="0">
                <a:solidFill>
                  <a:srgbClr val="1B365D"/>
                </a:solidFill>
                <a:latin typeface="Titillium Web SemiBold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TITLE (OPTIONAL)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1DA43A4-AE5C-30F5-3AAE-FB327124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72" y="5329482"/>
            <a:ext cx="8818467" cy="444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 descr="A black and grey logo&#10;&#10;Description automatically generated">
            <a:extLst>
              <a:ext uri="{FF2B5EF4-FFF2-40B4-BE49-F238E27FC236}">
                <a16:creationId xmlns:a16="http://schemas.microsoft.com/office/drawing/2014/main" id="{DF47FCB7-DA7D-6325-9D6F-DB2084D776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5257800"/>
            <a:ext cx="1564220" cy="1175656"/>
          </a:xfrm>
          <a:prstGeom prst="rect">
            <a:avLst/>
          </a:prstGeom>
        </p:spPr>
      </p:pic>
      <p:pic>
        <p:nvPicPr>
          <p:cNvPr id="2" name="Picture 1" descr="A wind turbines in the background&#10;&#10;Description automatically generated">
            <a:extLst>
              <a:ext uri="{FF2B5EF4-FFF2-40B4-BE49-F238E27FC236}">
                <a16:creationId xmlns:a16="http://schemas.microsoft.com/office/drawing/2014/main" id="{AC995184-7EEC-441C-5D11-68A9EA1F9D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863"/>
            <a:ext cx="12192000" cy="5167888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4BF5C74D-9765-231A-D32D-0F3EDA46FB86}"/>
              </a:ext>
            </a:extLst>
          </p:cNvPr>
          <p:cNvSpPr/>
          <p:nvPr userDrawn="1"/>
        </p:nvSpPr>
        <p:spPr>
          <a:xfrm>
            <a:off x="518572" y="6292561"/>
            <a:ext cx="11292428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41228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newable Energy 2 - Im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249B0-C7B5-2E3C-44BF-BFFCFE23101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573" y="5794088"/>
            <a:ext cx="8818467" cy="381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400" b="0" i="0" cap="none" spc="100" baseline="0">
                <a:solidFill>
                  <a:srgbClr val="1B365D"/>
                </a:solidFill>
                <a:latin typeface="Titillium Web SemiBold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TITLE (OPTIONAL)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1DA43A4-AE5C-30F5-3AAE-FB327124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72" y="5329482"/>
            <a:ext cx="8818467" cy="444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 descr="A black and grey logo&#10;&#10;Description automatically generated">
            <a:extLst>
              <a:ext uri="{FF2B5EF4-FFF2-40B4-BE49-F238E27FC236}">
                <a16:creationId xmlns:a16="http://schemas.microsoft.com/office/drawing/2014/main" id="{DF47FCB7-DA7D-6325-9D6F-DB2084D776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5257800"/>
            <a:ext cx="1564220" cy="1175656"/>
          </a:xfrm>
          <a:prstGeom prst="rect">
            <a:avLst/>
          </a:prstGeom>
        </p:spPr>
      </p:pic>
      <p:pic>
        <p:nvPicPr>
          <p:cNvPr id="4" name="Grafik 6">
            <a:extLst>
              <a:ext uri="{FF2B5EF4-FFF2-40B4-BE49-F238E27FC236}">
                <a16:creationId xmlns:a16="http://schemas.microsoft.com/office/drawing/2014/main" id="{7DBCE81D-A39C-844D-D540-9EA41346336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0310"/>
            <a:ext cx="12192000" cy="5163335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471B8209-31DC-250A-AB6C-29D7BF106B33}"/>
              </a:ext>
            </a:extLst>
          </p:cNvPr>
          <p:cNvSpPr/>
          <p:nvPr userDrawn="1"/>
        </p:nvSpPr>
        <p:spPr>
          <a:xfrm>
            <a:off x="518572" y="6292561"/>
            <a:ext cx="11292428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792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wer + Utilities - Im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249B0-C7B5-2E3C-44BF-BFFCFE23101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18573" y="5794088"/>
            <a:ext cx="8818467" cy="3810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None/>
              <a:defRPr sz="1400" b="0" i="0" cap="none" spc="100" baseline="0">
                <a:solidFill>
                  <a:srgbClr val="1B365D"/>
                </a:solidFill>
                <a:latin typeface="Titillium Web SemiBold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SUBTITLE (OPTIONAL)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11DA43A4-AE5C-30F5-3AAE-FB327124B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572" y="5329482"/>
            <a:ext cx="8818467" cy="444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 descr="A black and grey logo&#10;&#10;Description automatically generated">
            <a:extLst>
              <a:ext uri="{FF2B5EF4-FFF2-40B4-BE49-F238E27FC236}">
                <a16:creationId xmlns:a16="http://schemas.microsoft.com/office/drawing/2014/main" id="{DF47FCB7-DA7D-6325-9D6F-DB2084D776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0" y="5257800"/>
            <a:ext cx="1564220" cy="1175656"/>
          </a:xfrm>
          <a:prstGeom prst="rect">
            <a:avLst/>
          </a:prstGeom>
        </p:spPr>
      </p:pic>
      <p:pic>
        <p:nvPicPr>
          <p:cNvPr id="2" name="Grafik 6">
            <a:extLst>
              <a:ext uri="{FF2B5EF4-FFF2-40B4-BE49-F238E27FC236}">
                <a16:creationId xmlns:a16="http://schemas.microsoft.com/office/drawing/2014/main" id="{1EE0F729-B821-36AB-9CCB-1A387ECF8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917310" cy="5167232"/>
          </a:xfrm>
          <a:prstGeom prst="rect">
            <a:avLst/>
          </a:prstGeom>
        </p:spPr>
      </p:pic>
      <p:sp>
        <p:nvSpPr>
          <p:cNvPr id="5" name="Freeform 4">
            <a:extLst>
              <a:ext uri="{FF2B5EF4-FFF2-40B4-BE49-F238E27FC236}">
                <a16:creationId xmlns:a16="http://schemas.microsoft.com/office/drawing/2014/main" id="{D6F614F6-042F-B78A-F68F-32B4CF8AC5AD}"/>
              </a:ext>
            </a:extLst>
          </p:cNvPr>
          <p:cNvSpPr/>
          <p:nvPr userDrawn="1"/>
        </p:nvSpPr>
        <p:spPr>
          <a:xfrm>
            <a:off x="518572" y="6292561"/>
            <a:ext cx="11292428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688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 14">
            <a:extLst>
              <a:ext uri="{FF2B5EF4-FFF2-40B4-BE49-F238E27FC236}">
                <a16:creationId xmlns:a16="http://schemas.microsoft.com/office/drawing/2014/main" id="{88B04E1D-0386-7C3E-6DE0-CD3266192ED8}"/>
              </a:ext>
            </a:extLst>
          </p:cNvPr>
          <p:cNvSpPr>
            <a:spLocks/>
          </p:cNvSpPr>
          <p:nvPr userDrawn="1"/>
        </p:nvSpPr>
        <p:spPr>
          <a:xfrm>
            <a:off x="6103088" y="0"/>
            <a:ext cx="6088912" cy="6172200"/>
          </a:xfrm>
          <a:custGeom>
            <a:avLst/>
            <a:gdLst>
              <a:gd name="connsiteX0" fmla="*/ 0 w 6096000"/>
              <a:gd name="connsiteY0" fmla="*/ 0 h 5842000"/>
              <a:gd name="connsiteX1" fmla="*/ 6096000 w 6096000"/>
              <a:gd name="connsiteY1" fmla="*/ 0 h 5842000"/>
              <a:gd name="connsiteX2" fmla="*/ 6096000 w 6096000"/>
              <a:gd name="connsiteY2" fmla="*/ 5842000 h 5842000"/>
              <a:gd name="connsiteX3" fmla="*/ 507999 w 6096000"/>
              <a:gd name="connsiteY3" fmla="*/ 5842000 h 5842000"/>
              <a:gd name="connsiteX4" fmla="*/ 0 w 6096000"/>
              <a:gd name="connsiteY4" fmla="*/ 5334001 h 58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5842000">
                <a:moveTo>
                  <a:pt x="0" y="0"/>
                </a:moveTo>
                <a:lnTo>
                  <a:pt x="6096000" y="0"/>
                </a:lnTo>
                <a:lnTo>
                  <a:pt x="6096000" y="5842000"/>
                </a:lnTo>
                <a:lnTo>
                  <a:pt x="507999" y="5842000"/>
                </a:lnTo>
                <a:lnTo>
                  <a:pt x="0" y="5334001"/>
                </a:lnTo>
                <a:close/>
              </a:path>
            </a:pathLst>
          </a:cu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/>
          </a:p>
        </p:txBody>
      </p:sp>
      <p:cxnSp>
        <p:nvCxnSpPr>
          <p:cNvPr id="10" name="Gerade Verbindung 12">
            <a:extLst>
              <a:ext uri="{FF2B5EF4-FFF2-40B4-BE49-F238E27FC236}">
                <a16:creationId xmlns:a16="http://schemas.microsoft.com/office/drawing/2014/main" id="{0334C257-2B0C-4BFA-4B2B-BD89EEA1D150}"/>
              </a:ext>
            </a:extLst>
          </p:cNvPr>
          <p:cNvCxnSpPr>
            <a:cxnSpLocks/>
            <a:endCxn id="9" idx="4"/>
          </p:cNvCxnSpPr>
          <p:nvPr userDrawn="1"/>
        </p:nvCxnSpPr>
        <p:spPr>
          <a:xfrm flipH="1">
            <a:off x="6103088" y="1"/>
            <a:ext cx="20509" cy="5635487"/>
          </a:xfrm>
          <a:prstGeom prst="line">
            <a:avLst/>
          </a:prstGeom>
          <a:ln w="50800" cap="rnd">
            <a:solidFill>
              <a:srgbClr val="AB23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C900F09F-35A4-8F5D-F1DD-5038916D1C2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609600" y="2673709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1: Click to edit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1CECC23B-0321-0520-11B0-0CB2002FC026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09600" y="3335908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2: Click to edit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0ACF60F2-298F-DB5E-3792-FBE408E06EA1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09600" y="3998107"/>
            <a:ext cx="5121348" cy="315635"/>
          </a:xfrm>
          <a:prstGeom prst="rect">
            <a:avLst/>
          </a:prstGeom>
        </p:spPr>
        <p:txBody>
          <a:bodyPr anchor="ctr"/>
          <a:lstStyle>
            <a:lvl1pPr marL="0" indent="0" algn="r">
              <a:lnSpc>
                <a:spcPct val="120000"/>
              </a:lnSpc>
              <a:buNone/>
              <a:defRPr sz="1600" b="0" cap="none" baseline="0">
                <a:solidFill>
                  <a:srgbClr val="63666A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Topic 3: Click to edit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C3C6C622-9A32-C654-996F-5F4B66C64C7B}"/>
              </a:ext>
            </a:extLst>
          </p:cNvPr>
          <p:cNvSpPr/>
          <p:nvPr userDrawn="1"/>
        </p:nvSpPr>
        <p:spPr>
          <a:xfrm>
            <a:off x="5867142" y="2560283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  <a:endParaRPr lang="en-US" sz="1600" b="0" noProof="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D37117E-5BC3-4EC6-5986-14B41BBA863B}"/>
              </a:ext>
            </a:extLst>
          </p:cNvPr>
          <p:cNvSpPr/>
          <p:nvPr userDrawn="1"/>
        </p:nvSpPr>
        <p:spPr>
          <a:xfrm>
            <a:off x="5867142" y="3215428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2A28C89B-C47D-A1BE-C874-A18608AC2E28}"/>
              </a:ext>
            </a:extLst>
          </p:cNvPr>
          <p:cNvSpPr/>
          <p:nvPr userDrawn="1"/>
        </p:nvSpPr>
        <p:spPr>
          <a:xfrm>
            <a:off x="5867142" y="3890132"/>
            <a:ext cx="457200" cy="457200"/>
          </a:xfrm>
          <a:prstGeom prst="ellipse">
            <a:avLst/>
          </a:pr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0" noProof="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sp>
        <p:nvSpPr>
          <p:cNvPr id="24" name="Rectangle 23"/>
          <p:cNvSpPr/>
          <p:nvPr userDrawn="1"/>
        </p:nvSpPr>
        <p:spPr>
          <a:xfrm>
            <a:off x="5936790" y="2644457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1</a:t>
            </a:r>
          </a:p>
        </p:txBody>
      </p:sp>
      <p:sp>
        <p:nvSpPr>
          <p:cNvPr id="25" name="Rectangle 24"/>
          <p:cNvSpPr/>
          <p:nvPr userDrawn="1"/>
        </p:nvSpPr>
        <p:spPr>
          <a:xfrm>
            <a:off x="5945701" y="3285687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2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5953047" y="3962242"/>
            <a:ext cx="300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1600" b="1" i="0" noProof="0" dirty="0">
                <a:solidFill>
                  <a:schemeClr val="bg1"/>
                </a:solidFill>
                <a:latin typeface="Titillium Web SemiBold" pitchFamily="2" charset="77"/>
                <a:ea typeface="Lato" panose="020F0502020204030203" pitchFamily="34" charset="0"/>
                <a:cs typeface="Lato" panose="020F0502020204030203" pitchFamily="34" charset="0"/>
              </a:rPr>
              <a:t>3</a:t>
            </a: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CA76C70F-2222-AEA1-788F-5B679E0DA8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0508" y="1925661"/>
            <a:ext cx="3384000" cy="1918318"/>
          </a:xfrm>
          <a:prstGeom prst="rect">
            <a:avLst/>
          </a:prstGeom>
        </p:spPr>
      </p:pic>
      <p:sp>
        <p:nvSpPr>
          <p:cNvPr id="6" name="Title Placeholder 12">
            <a:extLst>
              <a:ext uri="{FF2B5EF4-FFF2-40B4-BE49-F238E27FC236}">
                <a16:creationId xmlns:a16="http://schemas.microsoft.com/office/drawing/2014/main" id="{E9999741-E3E6-AEE8-E6F7-98EFC0990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240" y="152401"/>
            <a:ext cx="5350990" cy="6857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6894F2-ABD1-6951-89ED-A3810FD387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3875" y="838200"/>
            <a:ext cx="5350355" cy="533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 i="0" spc="100" baseline="0">
                <a:solidFill>
                  <a:schemeClr val="tx2"/>
                </a:solidFill>
                <a:latin typeface="Titillium Web SemiBold" pitchFamily="2" charset="77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Freeform 5">
            <a:extLst>
              <a:ext uri="{FF2B5EF4-FFF2-40B4-BE49-F238E27FC236}">
                <a16:creationId xmlns:a16="http://schemas.microsoft.com/office/drawing/2014/main" id="{6DC377F3-6CAA-9892-944C-883F85586558}"/>
              </a:ext>
            </a:extLst>
          </p:cNvPr>
          <p:cNvSpPr/>
          <p:nvPr userDrawn="1"/>
        </p:nvSpPr>
        <p:spPr>
          <a:xfrm>
            <a:off x="4917816" y="6292561"/>
            <a:ext cx="6893183" cy="336839"/>
          </a:xfrm>
          <a:custGeom>
            <a:avLst/>
            <a:gdLst>
              <a:gd name="connsiteX0" fmla="*/ 0 w 11292428"/>
              <a:gd name="connsiteY0" fmla="*/ 0 h 336839"/>
              <a:gd name="connsiteX1" fmla="*/ 548228 w 11292428"/>
              <a:gd name="connsiteY1" fmla="*/ 0 h 336839"/>
              <a:gd name="connsiteX2" fmla="*/ 548228 w 11292428"/>
              <a:gd name="connsiteY2" fmla="*/ 118533 h 336839"/>
              <a:gd name="connsiteX3" fmla="*/ 11292428 w 11292428"/>
              <a:gd name="connsiteY3" fmla="*/ 118533 h 336839"/>
              <a:gd name="connsiteX4" fmla="*/ 11292428 w 11292428"/>
              <a:gd name="connsiteY4" fmla="*/ 336839 h 336839"/>
              <a:gd name="connsiteX5" fmla="*/ 0 w 11292428"/>
              <a:gd name="connsiteY5" fmla="*/ 336839 h 336839"/>
              <a:gd name="connsiteX6" fmla="*/ 0 w 11292428"/>
              <a:gd name="connsiteY6" fmla="*/ 218306 h 336839"/>
              <a:gd name="connsiteX7" fmla="*/ 0 w 11292428"/>
              <a:gd name="connsiteY7" fmla="*/ 118533 h 3368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92428" h="336839">
                <a:moveTo>
                  <a:pt x="0" y="0"/>
                </a:moveTo>
                <a:lnTo>
                  <a:pt x="548228" y="0"/>
                </a:lnTo>
                <a:lnTo>
                  <a:pt x="548228" y="118533"/>
                </a:lnTo>
                <a:lnTo>
                  <a:pt x="11292428" y="118533"/>
                </a:lnTo>
                <a:lnTo>
                  <a:pt x="11292428" y="336839"/>
                </a:lnTo>
                <a:lnTo>
                  <a:pt x="0" y="336839"/>
                </a:lnTo>
                <a:lnTo>
                  <a:pt x="0" y="218306"/>
                </a:lnTo>
                <a:lnTo>
                  <a:pt x="0" y="11853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4399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680BFEC-21C8-E15F-F9E6-D614CC82B6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4073702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311" imgH="311" progId="TCLayout.ActiveDocument.1">
                  <p:embed/>
                </p:oleObj>
              </mc:Choice>
              <mc:Fallback>
                <p:oleObj name="think-cell Slide" r:id="rId37" imgW="311" imgH="31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80BFEC-21C8-E15F-F9E6-D614CC82B6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A9388C4E-8202-C4C3-8A15-AAE759922103}"/>
              </a:ext>
            </a:extLst>
          </p:cNvPr>
          <p:cNvSpPr txBox="1"/>
          <p:nvPr userDrawn="1"/>
        </p:nvSpPr>
        <p:spPr>
          <a:xfrm>
            <a:off x="864426" y="6383836"/>
            <a:ext cx="2895600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fld id="{D36A1B9F-4F6A-4327-8B00-596A0FFEE630}" type="slidenum">
              <a:rPr lang="en-US" sz="1000" smtClean="0"/>
              <a:pPr/>
              <a:t>‹#›</a:t>
            </a:fld>
            <a:r>
              <a:rPr lang="en-US" sz="1000" dirty="0"/>
              <a:t>        © Red Lion Controls </a:t>
            </a:r>
            <a:fld id="{858D76CC-CE66-43D7-8957-F66ADDE066EE}" type="datetimeyyyy">
              <a:rPr lang="en-US" sz="1000" smtClean="0"/>
              <a:pPr/>
              <a:t>2024</a:t>
            </a:fld>
            <a:endParaRPr lang="en-US" sz="1000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B896E482-A6A4-82B6-A208-21BCE5D56111}"/>
              </a:ext>
            </a:extLst>
          </p:cNvPr>
          <p:cNvSpPr txBox="1">
            <a:spLocks/>
          </p:cNvSpPr>
          <p:nvPr userDrawn="1"/>
        </p:nvSpPr>
        <p:spPr>
          <a:xfrm>
            <a:off x="595640" y="6140389"/>
            <a:ext cx="8893999" cy="6121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 cap="all" baseline="0">
                <a:solidFill>
                  <a:srgbClr val="1B365D"/>
                </a:solidFill>
                <a:latin typeface="Titillium" pitchFamily="2" charset="77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/>
          </a:p>
        </p:txBody>
      </p:sp>
      <p:sp>
        <p:nvSpPr>
          <p:cNvPr id="12" name="Freihandform 10">
            <a:extLst>
              <a:ext uri="{FF2B5EF4-FFF2-40B4-BE49-F238E27FC236}">
                <a16:creationId xmlns:a16="http://schemas.microsoft.com/office/drawing/2014/main" id="{0CAAF138-1165-F093-FBD9-581F48DF6779}"/>
              </a:ext>
            </a:extLst>
          </p:cNvPr>
          <p:cNvSpPr>
            <a:spLocks noChangeAspect="1"/>
          </p:cNvSpPr>
          <p:nvPr userDrawn="1"/>
        </p:nvSpPr>
        <p:spPr>
          <a:xfrm>
            <a:off x="609600" y="6326252"/>
            <a:ext cx="240398" cy="240398"/>
          </a:xfrm>
          <a:custGeom>
            <a:avLst/>
            <a:gdLst>
              <a:gd name="connsiteX0" fmla="*/ 489283 w 3600000"/>
              <a:gd name="connsiteY0" fmla="*/ 1175159 h 3600000"/>
              <a:gd name="connsiteX1" fmla="*/ 489283 w 3600000"/>
              <a:gd name="connsiteY1" fmla="*/ 3113192 h 3600000"/>
              <a:gd name="connsiteX2" fmla="*/ 2427316 w 3600000"/>
              <a:gd name="connsiteY2" fmla="*/ 3113192 h 3600000"/>
              <a:gd name="connsiteX3" fmla="*/ 0 w 3600000"/>
              <a:gd name="connsiteY3" fmla="*/ 0 h 3600000"/>
              <a:gd name="connsiteX4" fmla="*/ 3600000 w 3600000"/>
              <a:gd name="connsiteY4" fmla="*/ 3600000 h 3600000"/>
              <a:gd name="connsiteX5" fmla="*/ 0 w 3600000"/>
              <a:gd name="connsiteY5" fmla="*/ 3600000 h 36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0000" h="3600000">
                <a:moveTo>
                  <a:pt x="489283" y="1175159"/>
                </a:moveTo>
                <a:lnTo>
                  <a:pt x="489283" y="3113192"/>
                </a:lnTo>
                <a:lnTo>
                  <a:pt x="2427316" y="3113192"/>
                </a:lnTo>
                <a:close/>
                <a:moveTo>
                  <a:pt x="0" y="0"/>
                </a:moveTo>
                <a:lnTo>
                  <a:pt x="3600000" y="3600000"/>
                </a:lnTo>
                <a:lnTo>
                  <a:pt x="0" y="3600000"/>
                </a:lnTo>
                <a:close/>
              </a:path>
            </a:pathLst>
          </a:custGeom>
          <a:solidFill>
            <a:srgbClr val="AB232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>
              <a:solidFill>
                <a:srgbClr val="AB2328"/>
              </a:solidFill>
            </a:endParaRPr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91178E3F-1F2B-49FD-4BB5-56F053DBB04A}"/>
              </a:ext>
            </a:extLst>
          </p:cNvPr>
          <p:cNvSpPr txBox="1">
            <a:spLocks/>
          </p:cNvSpPr>
          <p:nvPr userDrawn="1"/>
        </p:nvSpPr>
        <p:spPr>
          <a:xfrm>
            <a:off x="8991600" y="6419506"/>
            <a:ext cx="1760835" cy="1590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lang="en-US" sz="1000" b="0" i="0" kern="1200" smtClean="0">
                <a:solidFill>
                  <a:schemeClr val="tx1"/>
                </a:solidFill>
                <a:latin typeface="Lato Light" panose="020F03020202040302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A4D636F-E9EF-914F-AE97-1ED7C590C260}" type="datetime1">
              <a:rPr lang="en-US" smtClean="0"/>
              <a:pPr/>
              <a:t>4/3/2024</a:t>
            </a:fld>
            <a:endParaRPr lang="en-US" dirty="0"/>
          </a:p>
        </p:txBody>
      </p:sp>
      <p:sp>
        <p:nvSpPr>
          <p:cNvPr id="15" name="Footer Placeholder 6">
            <a:extLst>
              <a:ext uri="{FF2B5EF4-FFF2-40B4-BE49-F238E27FC236}">
                <a16:creationId xmlns:a16="http://schemas.microsoft.com/office/drawing/2014/main" id="{BD8081D1-7245-AFA4-0E5D-9F5BAEA70B5A}"/>
              </a:ext>
            </a:extLst>
          </p:cNvPr>
          <p:cNvSpPr txBox="1">
            <a:spLocks/>
          </p:cNvSpPr>
          <p:nvPr userDrawn="1"/>
        </p:nvSpPr>
        <p:spPr>
          <a:xfrm>
            <a:off x="4038600" y="5828744"/>
            <a:ext cx="4114800" cy="1725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808304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0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872" r:id="rId9"/>
    <p:sldLayoutId id="2147483891" r:id="rId10"/>
    <p:sldLayoutId id="2147483892" r:id="rId11"/>
    <p:sldLayoutId id="2147483893" r:id="rId12"/>
    <p:sldLayoutId id="2147483877" r:id="rId13"/>
    <p:sldLayoutId id="2147483873" r:id="rId14"/>
    <p:sldLayoutId id="2147483874" r:id="rId15"/>
    <p:sldLayoutId id="2147483875" r:id="rId16"/>
    <p:sldLayoutId id="2147483876" r:id="rId17"/>
    <p:sldLayoutId id="2147483878" r:id="rId18"/>
    <p:sldLayoutId id="2147483901" r:id="rId19"/>
    <p:sldLayoutId id="2147483879" r:id="rId20"/>
    <p:sldLayoutId id="2147483880" r:id="rId21"/>
    <p:sldLayoutId id="2147483881" r:id="rId22"/>
    <p:sldLayoutId id="2147483882" r:id="rId23"/>
    <p:sldLayoutId id="2147483883" r:id="rId24"/>
    <p:sldLayoutId id="2147483884" r:id="rId25"/>
    <p:sldLayoutId id="2147483885" r:id="rId26"/>
    <p:sldLayoutId id="2147483886" r:id="rId27"/>
    <p:sldLayoutId id="2147483887" r:id="rId28"/>
    <p:sldLayoutId id="2147483888" r:id="rId29"/>
    <p:sldLayoutId id="2147483889" r:id="rId30"/>
    <p:sldLayoutId id="2147483890" r:id="rId31"/>
    <p:sldLayoutId id="2147483902" r:id="rId32"/>
    <p:sldLayoutId id="2147483903" r:id="rId33"/>
    <p:sldLayoutId id="2147483904" r:id="rId3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i="0" kern="1200" baseline="0">
          <a:solidFill>
            <a:srgbClr val="AB2328"/>
          </a:solidFill>
          <a:latin typeface="Titillium Web Light" pitchFamily="2" charset="77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rgbClr val="89ABE3"/>
        </a:buClr>
        <a:buSzPct val="80000"/>
        <a:buFont typeface="Courier New" panose="02070309020205020404" pitchFamily="49" charset="0"/>
        <a:buChar char="o"/>
        <a:defRPr sz="2000" b="0" i="0" kern="1200">
          <a:solidFill>
            <a:schemeClr val="accent2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9ABE3"/>
        </a:buClr>
        <a:buSzPct val="80000"/>
        <a:buFont typeface="Courier New" panose="02070309020205020404" pitchFamily="49" charset="0"/>
        <a:buChar char="o"/>
        <a:defRPr sz="1800" b="0" i="0" kern="1200">
          <a:solidFill>
            <a:schemeClr val="accent2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9ABE3"/>
        </a:buClr>
        <a:buSzPct val="80000"/>
        <a:buFont typeface="Courier New" panose="02070309020205020404" pitchFamily="49" charset="0"/>
        <a:buChar char="o"/>
        <a:defRPr sz="1600" b="0" i="0" kern="1200">
          <a:solidFill>
            <a:schemeClr val="accent2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9ABE3"/>
        </a:buClr>
        <a:buSzPct val="80000"/>
        <a:buFont typeface="Courier New" panose="02070309020205020404" pitchFamily="49" charset="0"/>
        <a:buChar char="o"/>
        <a:defRPr sz="1400" b="0" i="0" kern="1200">
          <a:solidFill>
            <a:schemeClr val="accent2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9ABE3"/>
        </a:buClr>
        <a:buSzPct val="80000"/>
        <a:buFont typeface="Courier New" panose="02070309020205020404" pitchFamily="49" charset="0"/>
        <a:buChar char="o"/>
        <a:defRPr sz="1400" b="0" i="0" kern="1200">
          <a:solidFill>
            <a:schemeClr val="accent2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6" orient="horz" pos="432">
          <p15:clr>
            <a:srgbClr val="F26B43"/>
          </p15:clr>
        </p15:guide>
        <p15:guide id="7" orient="horz" pos="4128">
          <p15:clr>
            <a:srgbClr val="F26B43"/>
          </p15:clr>
        </p15:guide>
        <p15:guide id="9" orient="horz" pos="3888">
          <p15:clr>
            <a:srgbClr val="F26B43"/>
          </p15:clr>
        </p15:guide>
        <p15:guide id="10" orient="horz" pos="672">
          <p15:clr>
            <a:srgbClr val="F26B43"/>
          </p15:clr>
        </p15:guide>
        <p15:guide id="11" orient="horz" pos="1008">
          <p15:clr>
            <a:srgbClr val="F26B43"/>
          </p15:clr>
        </p15:guide>
        <p15:guide id="12" orient="horz" pos="19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5.xml"/><Relationship Id="rId6" Type="http://schemas.openxmlformats.org/officeDocument/2006/relationships/image" Target="../media/image17.png"/><Relationship Id="rId5" Type="http://schemas.openxmlformats.org/officeDocument/2006/relationships/image" Target="../media/image38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41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3.xml"/><Relationship Id="rId11" Type="http://schemas.openxmlformats.org/officeDocument/2006/relationships/image" Target="../media/image45.PNG"/><Relationship Id="rId5" Type="http://schemas.openxmlformats.org/officeDocument/2006/relationships/diagramColors" Target="../diagrams/colors3.xml"/><Relationship Id="rId10" Type="http://schemas.openxmlformats.org/officeDocument/2006/relationships/image" Target="../media/image44.pn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4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diagramLayout" Target="../diagrams/layout4.xml"/><Relationship Id="rId7" Type="http://schemas.openxmlformats.org/officeDocument/2006/relationships/image" Target="../media/image41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10" Type="http://schemas.openxmlformats.org/officeDocument/2006/relationships/image" Target="../media/image48.png"/><Relationship Id="rId4" Type="http://schemas.openxmlformats.org/officeDocument/2006/relationships/diagramQuickStyle" Target="../diagrams/quickStyle4.xml"/><Relationship Id="rId9" Type="http://schemas.openxmlformats.org/officeDocument/2006/relationships/image" Target="../media/image4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49.png"/><Relationship Id="rId4" Type="http://schemas.openxmlformats.org/officeDocument/2006/relationships/image" Target="../media/image1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4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34.png"/><Relationship Id="rId7" Type="http://schemas.openxmlformats.org/officeDocument/2006/relationships/image" Target="../media/image61.png"/><Relationship Id="rId12" Type="http://schemas.openxmlformats.org/officeDocument/2006/relationships/image" Target="../media/image65.pn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6.png"/><Relationship Id="rId11" Type="http://schemas.microsoft.com/office/2007/relationships/hdphoto" Target="../media/hdphoto1.wdp"/><Relationship Id="rId5" Type="http://schemas.openxmlformats.org/officeDocument/2006/relationships/image" Target="../media/image60.png"/><Relationship Id="rId10" Type="http://schemas.openxmlformats.org/officeDocument/2006/relationships/image" Target="../media/image64.png"/><Relationship Id="rId4" Type="http://schemas.openxmlformats.org/officeDocument/2006/relationships/image" Target="../media/image59.png"/><Relationship Id="rId9" Type="http://schemas.openxmlformats.org/officeDocument/2006/relationships/image" Target="../media/image63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4.xml"/><Relationship Id="rId6" Type="http://schemas.openxmlformats.org/officeDocument/2006/relationships/image" Target="../media/image17.png"/><Relationship Id="rId5" Type="http://schemas.openxmlformats.org/officeDocument/2006/relationships/image" Target="../media/image20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7" Type="http://schemas.openxmlformats.org/officeDocument/2006/relationships/image" Target="../media/image31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30.png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0CD5B07-D2D6-33BD-5601-8920BEE7B00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duct Present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1ECD38E-6534-4385-D752-B48BA7E169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ustrial RTU and I/O Module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589754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1B4E6C-4F0B-C505-3876-A0FED4C88F4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rder Guid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B9617A-0A9D-2DF5-63D6-D978ABA6FB84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ST-IPm-8460</a:t>
            </a:r>
          </a:p>
        </p:txBody>
      </p:sp>
      <p:graphicFrame>
        <p:nvGraphicFramePr>
          <p:cNvPr id="5" name="Group 131">
            <a:extLst>
              <a:ext uri="{FF2B5EF4-FFF2-40B4-BE49-F238E27FC236}">
                <a16:creationId xmlns:a16="http://schemas.microsoft.com/office/drawing/2014/main" id="{98F38BC6-9095-1648-1702-3C24718399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4348156"/>
              </p:ext>
            </p:extLst>
          </p:nvPr>
        </p:nvGraphicFramePr>
        <p:xfrm>
          <a:off x="606774" y="1899605"/>
          <a:ext cx="10975623" cy="1529395"/>
        </p:xfrm>
        <a:graphic>
          <a:graphicData uri="http://schemas.openxmlformats.org/drawingml/2006/table">
            <a:tbl>
              <a:tblPr>
                <a:tableStyleId>{8FD4443E-F989-4FC4-A0C8-D5A2AF1F390B}</a:tableStyleId>
              </a:tblPr>
              <a:tblGrid>
                <a:gridCol w="2730435">
                  <a:extLst>
                    <a:ext uri="{9D8B030D-6E8A-4147-A177-3AD203B41FA5}">
                      <a16:colId xmlns:a16="http://schemas.microsoft.com/office/drawing/2014/main" val="4047445660"/>
                    </a:ext>
                  </a:extLst>
                </a:gridCol>
                <a:gridCol w="1374199">
                  <a:extLst>
                    <a:ext uri="{9D8B030D-6E8A-4147-A177-3AD203B41FA5}">
                      <a16:colId xmlns:a16="http://schemas.microsoft.com/office/drawing/2014/main" val="1214117118"/>
                    </a:ext>
                  </a:extLst>
                </a:gridCol>
                <a:gridCol w="1374197">
                  <a:extLst>
                    <a:ext uri="{9D8B030D-6E8A-4147-A177-3AD203B41FA5}">
                      <a16:colId xmlns:a16="http://schemas.microsoft.com/office/drawing/2014/main" val="3697115861"/>
                    </a:ext>
                  </a:extLst>
                </a:gridCol>
                <a:gridCol w="1374199">
                  <a:extLst>
                    <a:ext uri="{9D8B030D-6E8A-4147-A177-3AD203B41FA5}">
                      <a16:colId xmlns:a16="http://schemas.microsoft.com/office/drawing/2014/main" val="1287439477"/>
                    </a:ext>
                  </a:extLst>
                </a:gridCol>
                <a:gridCol w="1374197">
                  <a:extLst>
                    <a:ext uri="{9D8B030D-6E8A-4147-A177-3AD203B41FA5}">
                      <a16:colId xmlns:a16="http://schemas.microsoft.com/office/drawing/2014/main" val="1707369138"/>
                    </a:ext>
                  </a:extLst>
                </a:gridCol>
                <a:gridCol w="1374199">
                  <a:extLst>
                    <a:ext uri="{9D8B030D-6E8A-4147-A177-3AD203B41FA5}">
                      <a16:colId xmlns:a16="http://schemas.microsoft.com/office/drawing/2014/main" val="614473134"/>
                    </a:ext>
                  </a:extLst>
                </a:gridCol>
                <a:gridCol w="1374197">
                  <a:extLst>
                    <a:ext uri="{9D8B030D-6E8A-4147-A177-3AD203B41FA5}">
                      <a16:colId xmlns:a16="http://schemas.microsoft.com/office/drawing/2014/main" val="3590208514"/>
                    </a:ext>
                  </a:extLst>
                </a:gridCol>
              </a:tblGrid>
              <a:tr h="40257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PORTS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MEMORY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3941774"/>
                  </a:ext>
                </a:extLst>
              </a:tr>
              <a:tr h="663067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Part Number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Eth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232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485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NVRAM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FLASH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DRAM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6734115"/>
                  </a:ext>
                </a:extLst>
              </a:tr>
              <a:tr h="463752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</a:rPr>
                        <a:t>ST-IPm-8460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</a:rPr>
                        <a:t>6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</a:rPr>
                        <a:t>3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</a:rPr>
                        <a:t>1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</a:rPr>
                        <a:t>8M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</a:rPr>
                        <a:t>512M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6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</a:rPr>
                        <a:t>512M</a:t>
                      </a:r>
                      <a:endParaRPr kumimoji="0" lang="en-US" alt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955551"/>
                  </a:ext>
                </a:extLst>
              </a:tr>
            </a:tbl>
          </a:graphicData>
        </a:graphic>
      </p:graphicFrame>
      <p:pic>
        <p:nvPicPr>
          <p:cNvPr id="6" name="Content Placeholder 6">
            <a:extLst>
              <a:ext uri="{FF2B5EF4-FFF2-40B4-BE49-F238E27FC236}">
                <a16:creationId xmlns:a16="http://schemas.microsoft.com/office/drawing/2014/main" id="{03A91A97-9C20-171E-F8A8-4CFB2D36DC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4978" y="3731227"/>
            <a:ext cx="3459214" cy="2309916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75195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8E5AA5-C53F-0A32-A60A-6451009B5C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ross Reference Guid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653C02-EADE-8F11-B70D-6BA9E5D277CD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ST-IPm-8460</a:t>
            </a:r>
          </a:p>
        </p:txBody>
      </p:sp>
      <p:graphicFrame>
        <p:nvGraphicFramePr>
          <p:cNvPr id="5" name="Group 131">
            <a:extLst>
              <a:ext uri="{FF2B5EF4-FFF2-40B4-BE49-F238E27FC236}">
                <a16:creationId xmlns:a16="http://schemas.microsoft.com/office/drawing/2014/main" id="{354F8710-7A27-65DE-E936-706BFCB599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9396420"/>
              </p:ext>
            </p:extLst>
          </p:nvPr>
        </p:nvGraphicFramePr>
        <p:xfrm>
          <a:off x="609600" y="1589353"/>
          <a:ext cx="10972798" cy="4311585"/>
        </p:xfrm>
        <a:graphic>
          <a:graphicData uri="http://schemas.openxmlformats.org/drawingml/2006/table">
            <a:tbl>
              <a:tblPr>
                <a:tableStyleId>{8FD4443E-F989-4FC4-A0C8-D5A2AF1F390B}</a:tableStyleId>
              </a:tblPr>
              <a:tblGrid>
                <a:gridCol w="2729731">
                  <a:extLst>
                    <a:ext uri="{9D8B030D-6E8A-4147-A177-3AD203B41FA5}">
                      <a16:colId xmlns:a16="http://schemas.microsoft.com/office/drawing/2014/main" val="4047445660"/>
                    </a:ext>
                  </a:extLst>
                </a:gridCol>
                <a:gridCol w="1373846">
                  <a:extLst>
                    <a:ext uri="{9D8B030D-6E8A-4147-A177-3AD203B41FA5}">
                      <a16:colId xmlns:a16="http://schemas.microsoft.com/office/drawing/2014/main" val="1214117118"/>
                    </a:ext>
                  </a:extLst>
                </a:gridCol>
                <a:gridCol w="1373843">
                  <a:extLst>
                    <a:ext uri="{9D8B030D-6E8A-4147-A177-3AD203B41FA5}">
                      <a16:colId xmlns:a16="http://schemas.microsoft.com/office/drawing/2014/main" val="3697115861"/>
                    </a:ext>
                  </a:extLst>
                </a:gridCol>
                <a:gridCol w="1373846">
                  <a:extLst>
                    <a:ext uri="{9D8B030D-6E8A-4147-A177-3AD203B41FA5}">
                      <a16:colId xmlns:a16="http://schemas.microsoft.com/office/drawing/2014/main" val="1287439477"/>
                    </a:ext>
                  </a:extLst>
                </a:gridCol>
                <a:gridCol w="1373843">
                  <a:extLst>
                    <a:ext uri="{9D8B030D-6E8A-4147-A177-3AD203B41FA5}">
                      <a16:colId xmlns:a16="http://schemas.microsoft.com/office/drawing/2014/main" val="1707369138"/>
                    </a:ext>
                  </a:extLst>
                </a:gridCol>
                <a:gridCol w="1373846">
                  <a:extLst>
                    <a:ext uri="{9D8B030D-6E8A-4147-A177-3AD203B41FA5}">
                      <a16:colId xmlns:a16="http://schemas.microsoft.com/office/drawing/2014/main" val="614473134"/>
                    </a:ext>
                  </a:extLst>
                </a:gridCol>
                <a:gridCol w="1373843">
                  <a:extLst>
                    <a:ext uri="{9D8B030D-6E8A-4147-A177-3AD203B41FA5}">
                      <a16:colId xmlns:a16="http://schemas.microsoft.com/office/drawing/2014/main" val="3590208514"/>
                    </a:ext>
                  </a:extLst>
                </a:gridCol>
              </a:tblGrid>
              <a:tr h="61551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 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PORTS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MEMORY</a:t>
                      </a:r>
                      <a:endParaRPr kumimoji="0" lang="en-US" alt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3941774"/>
                  </a:ext>
                </a:extLst>
              </a:tr>
              <a:tr h="65451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Part Number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Eth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23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485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NVRA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FLASH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DRA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6734115"/>
                  </a:ext>
                </a:extLst>
              </a:tr>
              <a:tr h="434509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</a:rPr>
                        <a:t>ST-IPm-8460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</a:rPr>
                        <a:t>6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</a:rPr>
                        <a:t>3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</a:rPr>
                        <a:t>8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</a:rPr>
                        <a:t>51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</a:rPr>
                        <a:t>51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8955551"/>
                  </a:ext>
                </a:extLst>
              </a:tr>
              <a:tr h="43450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ST-IPm-6350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5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3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28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64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2814696"/>
                  </a:ext>
                </a:extLst>
              </a:tr>
              <a:tr h="43450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ST-IPm-2350\1350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5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3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2M\512K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6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6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9213183"/>
                  </a:ext>
                </a:extLst>
              </a:tr>
              <a:tr h="43450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VT-IPm-1410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3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512K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6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6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5683813"/>
                  </a:ext>
                </a:extLst>
              </a:tr>
              <a:tr h="43450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VT-IPm-2410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3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6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6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1348542"/>
                  </a:ext>
                </a:extLst>
              </a:tr>
              <a:tr h="43450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ET-GT-ST-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6915199"/>
                  </a:ext>
                </a:extLst>
              </a:tr>
              <a:tr h="43450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ST-GT-1210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512K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6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</a:rPr>
                        <a:t>16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73824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19153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14053F-497E-34AD-997F-805CCA4858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6B6CA68-BD6D-F58C-8359-8B46461FD6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4460384"/>
            <a:ext cx="2519806" cy="1574799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Programmable</a:t>
            </a:r>
          </a:p>
          <a:p>
            <a:r>
              <a:rPr lang="en-US" dirty="0"/>
              <a:t>Redundant Operation</a:t>
            </a:r>
          </a:p>
          <a:p>
            <a:r>
              <a:rPr lang="en-US" dirty="0"/>
              <a:t>Datalogg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4F6344-2617-D47D-7029-898C82325E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duct Li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C67FB8-F59B-4602-94A4-8C6DBF90A9C3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RTU and I/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A76923-BB54-BC7D-BE43-7881478E7A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27759" y="4460384"/>
            <a:ext cx="2519806" cy="1574799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Programmable</a:t>
            </a:r>
          </a:p>
          <a:p>
            <a:r>
              <a:rPr lang="en-US" dirty="0"/>
              <a:t>Onboard I/O</a:t>
            </a:r>
          </a:p>
          <a:p>
            <a:r>
              <a:rPr lang="en-US" dirty="0"/>
              <a:t>Datalogg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5666FDC-D701-21EF-23D3-0DA7746B2C1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6648" y="1457950"/>
            <a:ext cx="2519806" cy="613230"/>
          </a:xfrm>
          <a:solidFill>
            <a:schemeClr val="tx2"/>
          </a:solidFill>
        </p:spPr>
        <p:txBody>
          <a:bodyPr/>
          <a:lstStyle/>
          <a:p>
            <a:r>
              <a:rPr lang="en-US" b="1" dirty="0"/>
              <a:t>ST-IPm-8460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3CE763-0B1D-D793-5A22-702E5DB46C8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427759" y="1457950"/>
            <a:ext cx="2519806" cy="61323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VersaTRAK® RTU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VT-mIPm-138\248-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B6EAEC1-46BF-E2FC-3473-5E423A006B3A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272553" y="1457950"/>
            <a:ext cx="2519806" cy="613230"/>
          </a:xfrm>
          <a:solidFill>
            <a:schemeClr val="tx2"/>
          </a:solidFill>
        </p:spPr>
        <p:txBody>
          <a:bodyPr/>
          <a:lstStyle/>
          <a:p>
            <a:r>
              <a:rPr lang="en-US" b="1" dirty="0"/>
              <a:t>Red Lion Workbenc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3EE80C2-6E7D-4139-FC1B-17718E7DF96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58330" y="1457950"/>
            <a:ext cx="2519806" cy="613230"/>
          </a:xfrm>
        </p:spPr>
        <p:txBody>
          <a:bodyPr/>
          <a:lstStyle/>
          <a:p>
            <a:r>
              <a:rPr lang="en-US" b="1" dirty="0"/>
              <a:t>EtherTRAK</a:t>
            </a:r>
            <a:r>
              <a:rPr lang="en-US" b="1" dirty="0">
                <a:latin typeface="Abadi" panose="020B0604020104020204" pitchFamily="34" charset="0"/>
              </a:rPr>
              <a:t>® </a:t>
            </a:r>
            <a:r>
              <a:rPr lang="en-US" b="1" dirty="0"/>
              <a:t>-2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415535-D0BF-1823-B16D-C962ED7DB86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3868" y="4460384"/>
            <a:ext cx="2519806" cy="1574799"/>
          </a:xfrm>
        </p:spPr>
        <p:txBody>
          <a:bodyPr/>
          <a:lstStyle/>
          <a:p>
            <a:r>
              <a:rPr lang="en-US" dirty="0"/>
              <a:t>5 Languages</a:t>
            </a:r>
          </a:p>
          <a:p>
            <a:r>
              <a:rPr lang="en-US" dirty="0"/>
              <a:t>Protocols</a:t>
            </a:r>
          </a:p>
          <a:p>
            <a:r>
              <a:rPr lang="en-US" dirty="0"/>
              <a:t>Redundancy</a:t>
            </a:r>
          </a:p>
          <a:p>
            <a:r>
              <a:rPr lang="en-US" dirty="0"/>
              <a:t>Two variable database or one variable databas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0B8BA1A-F811-0BBD-31F4-0B2A4DE188D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8330" y="4460384"/>
            <a:ext cx="2519806" cy="1574799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Three Network Modes</a:t>
            </a:r>
          </a:p>
          <a:p>
            <a:r>
              <a:rPr lang="en-US" dirty="0"/>
              <a:t>Up 34 I/O</a:t>
            </a:r>
          </a:p>
          <a:p>
            <a:r>
              <a:rPr lang="en-US" dirty="0"/>
              <a:t>17 different models</a:t>
            </a:r>
          </a:p>
        </p:txBody>
      </p:sp>
      <p:pic>
        <p:nvPicPr>
          <p:cNvPr id="21" name="Content Placeholder 20">
            <a:extLst>
              <a:ext uri="{FF2B5EF4-FFF2-40B4-BE49-F238E27FC236}">
                <a16:creationId xmlns:a16="http://schemas.microsoft.com/office/drawing/2014/main" id="{16574266-1303-11BD-60E2-1BE86DBB385A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337" y="2254446"/>
            <a:ext cx="2026176" cy="1352994"/>
          </a:xfrm>
        </p:spPr>
      </p:pic>
      <p:pic>
        <p:nvPicPr>
          <p:cNvPr id="31" name="Content Placeholder 30">
            <a:extLst>
              <a:ext uri="{FF2B5EF4-FFF2-40B4-BE49-F238E27FC236}">
                <a16:creationId xmlns:a16="http://schemas.microsoft.com/office/drawing/2014/main" id="{D79232E5-6A62-43F5-E2ED-B77C4E0BD924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2136" y="2254446"/>
            <a:ext cx="1447800" cy="1447800"/>
          </a:xfrm>
        </p:spPr>
      </p:pic>
      <p:pic>
        <p:nvPicPr>
          <p:cNvPr id="29" name="Content Placeholder 28">
            <a:extLst>
              <a:ext uri="{FF2B5EF4-FFF2-40B4-BE49-F238E27FC236}">
                <a16:creationId xmlns:a16="http://schemas.microsoft.com/office/drawing/2014/main" id="{65454BC3-D03F-8419-A120-B8DD7BCB35B4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7248" y="2254446"/>
            <a:ext cx="1554478" cy="1554478"/>
          </a:xfr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49B2CA5-7ECC-6ABC-DDEB-C5CC6BAD3C64}"/>
              </a:ext>
            </a:extLst>
          </p:cNvPr>
          <p:cNvSpPr txBox="1"/>
          <p:nvPr/>
        </p:nvSpPr>
        <p:spPr>
          <a:xfrm>
            <a:off x="609600" y="3886017"/>
            <a:ext cx="252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3666A"/>
                </a:solidFill>
                <a:latin typeface="Lato" panose="020F0502020204030203" pitchFamily="34" charset="0"/>
              </a:rPr>
              <a:t>Programmable RTU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6E21635-4E4E-9E0C-052A-F60709C16458}"/>
              </a:ext>
            </a:extLst>
          </p:cNvPr>
          <p:cNvSpPr txBox="1"/>
          <p:nvPr/>
        </p:nvSpPr>
        <p:spPr>
          <a:xfrm>
            <a:off x="3442757" y="3886017"/>
            <a:ext cx="24898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63666A"/>
                </a:solidFill>
                <a:latin typeface="Lato" panose="020F0502020204030203" pitchFamily="34" charset="0"/>
              </a:rPr>
              <a:t>New Programmable RTU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3B51D2-A52D-0C70-2BD6-C2048683B825}"/>
              </a:ext>
            </a:extLst>
          </p:cNvPr>
          <p:cNvSpPr txBox="1"/>
          <p:nvPr/>
        </p:nvSpPr>
        <p:spPr>
          <a:xfrm>
            <a:off x="6246820" y="3886017"/>
            <a:ext cx="25268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3666A"/>
                </a:solidFill>
                <a:latin typeface="Lato" panose="020F0502020204030203" pitchFamily="34" charset="0"/>
              </a:rPr>
              <a:t>IEC 61131-3 Programming Workbench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AA6E980-62A2-99EC-272F-D6AB71EF3B02}"/>
              </a:ext>
            </a:extLst>
          </p:cNvPr>
          <p:cNvSpPr txBox="1"/>
          <p:nvPr/>
        </p:nvSpPr>
        <p:spPr>
          <a:xfrm>
            <a:off x="9072426" y="3886017"/>
            <a:ext cx="252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3666A"/>
                </a:solidFill>
                <a:latin typeface="Lato" panose="020F0502020204030203" pitchFamily="34" charset="0"/>
              </a:rPr>
              <a:t>Dual Ethernet I/O Modu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2404E9D-7C5D-6163-B4F8-33CD2954B8B1}"/>
              </a:ext>
            </a:extLst>
          </p:cNvPr>
          <p:cNvSpPr/>
          <p:nvPr/>
        </p:nvSpPr>
        <p:spPr>
          <a:xfrm>
            <a:off x="6023992" y="1357204"/>
            <a:ext cx="6138865" cy="490344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l"/>
            <a:endParaRPr lang="en-IN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79FB13E-A02C-1CA8-F9AE-C223833F23F3}"/>
              </a:ext>
            </a:extLst>
          </p:cNvPr>
          <p:cNvSpPr/>
          <p:nvPr/>
        </p:nvSpPr>
        <p:spPr>
          <a:xfrm>
            <a:off x="49924" y="1340768"/>
            <a:ext cx="3309772" cy="490344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l"/>
            <a:endParaRPr lang="en-IN"/>
          </a:p>
        </p:txBody>
      </p:sp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B105CDBF-84E3-F3CB-A576-2ABB4A1E3EDC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63752" y="2342276"/>
            <a:ext cx="1778067" cy="1265164"/>
          </a:xfrm>
        </p:spPr>
      </p:pic>
    </p:spTree>
    <p:extLst>
      <p:ext uri="{BB962C8B-B14F-4D97-AF65-F5344CB8AC3E}">
        <p14:creationId xmlns:p14="http://schemas.microsoft.com/office/powerpoint/2010/main" val="15496332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3EDB3B8-D43E-45E7-CD74-F0D2A1AB79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saTRAK</a:t>
            </a:r>
            <a:r>
              <a:rPr lang="en-US" dirty="0">
                <a:latin typeface="Abadi" panose="020B0604020104020204" pitchFamily="34" charset="0"/>
              </a:rPr>
              <a:t>®</a:t>
            </a:r>
            <a:r>
              <a:rPr lang="en-US" dirty="0"/>
              <a:t> RTU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5735C1-3772-9CAA-614C-5DFEDAC435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en-US" dirty="0"/>
              <a:t>Hardware Featur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F76CC89-8229-9343-5F48-C42AEB2197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en-US" b="1" dirty="0"/>
              <a:t>On-board I/O</a:t>
            </a:r>
          </a:p>
          <a:p>
            <a:pPr lvl="1">
              <a:lnSpc>
                <a:spcPct val="120000"/>
              </a:lnSpc>
            </a:pPr>
            <a:r>
              <a:rPr lang="en-US" altLang="en-US" dirty="0"/>
              <a:t>Mixture of DI, DO, AI, AO</a:t>
            </a:r>
          </a:p>
          <a:p>
            <a:pPr>
              <a:lnSpc>
                <a:spcPct val="120000"/>
              </a:lnSpc>
            </a:pPr>
            <a:r>
              <a:rPr lang="en-US" altLang="en-US" b="1" dirty="0"/>
              <a:t>Ethernet, RS232 and RS485 Port</a:t>
            </a:r>
          </a:p>
          <a:p>
            <a:pPr>
              <a:lnSpc>
                <a:spcPct val="120000"/>
              </a:lnSpc>
            </a:pPr>
            <a:r>
              <a:rPr lang="en-US" altLang="en-US" b="1" dirty="0"/>
              <a:t>Certified for rugged and hazardous environments</a:t>
            </a:r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4E0A78BE-D87F-863B-4EFE-E74A57E3E72E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1285020"/>
            <a:ext cx="5486400" cy="3903784"/>
          </a:xfrm>
          <a:noFill/>
        </p:spPr>
      </p:pic>
    </p:spTree>
    <p:extLst>
      <p:ext uri="{BB962C8B-B14F-4D97-AF65-F5344CB8AC3E}">
        <p14:creationId xmlns:p14="http://schemas.microsoft.com/office/powerpoint/2010/main" val="3267363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D56E9BA-96CF-F97C-6891-62A4E9E22B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saTRAK</a:t>
            </a:r>
            <a:r>
              <a:rPr lang="en-US" dirty="0">
                <a:latin typeface="Abadi" panose="020B0604020104020204" pitchFamily="34" charset="0"/>
              </a:rPr>
              <a:t>®</a:t>
            </a:r>
            <a:r>
              <a:rPr lang="en-US" dirty="0"/>
              <a:t> RTU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F5734D-A806-5AEA-8C38-646872CD06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en-US" dirty="0"/>
              <a:t>Software Featur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17DC97-E131-4AF8-B7A0-2C07E52E82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en-US" b="1" dirty="0"/>
              <a:t>Linux OS</a:t>
            </a:r>
          </a:p>
          <a:p>
            <a:pPr lvl="1">
              <a:lnSpc>
                <a:spcPct val="120000"/>
              </a:lnSpc>
            </a:pPr>
            <a:r>
              <a:rPr lang="en-US" altLang="en-US" dirty="0"/>
              <a:t>Open programming</a:t>
            </a:r>
          </a:p>
          <a:p>
            <a:pPr>
              <a:lnSpc>
                <a:spcPct val="120000"/>
              </a:lnSpc>
            </a:pPr>
            <a:r>
              <a:rPr lang="en-US" altLang="en-US" b="1" dirty="0"/>
              <a:t>IEC61131-3 programming via Red Lion Workbench </a:t>
            </a:r>
          </a:p>
          <a:p>
            <a:pPr lvl="1">
              <a:lnSpc>
                <a:spcPct val="120000"/>
              </a:lnSpc>
            </a:pPr>
            <a:r>
              <a:rPr lang="en-US" altLang="en-US" dirty="0"/>
              <a:t>ISaGRAF is supported for backward compatibility</a:t>
            </a:r>
          </a:p>
          <a:p>
            <a:pPr>
              <a:lnSpc>
                <a:spcPct val="120000"/>
              </a:lnSpc>
            </a:pPr>
            <a:r>
              <a:rPr lang="en-US" altLang="en-US" b="1" dirty="0"/>
              <a:t>Datalogging</a:t>
            </a:r>
          </a:p>
          <a:p>
            <a:pPr>
              <a:lnSpc>
                <a:spcPct val="120000"/>
              </a:lnSpc>
            </a:pPr>
            <a:r>
              <a:rPr lang="en-US" altLang="en-US" b="1" dirty="0"/>
              <a:t>Security with advanced firewall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758C2D5B-1CC5-E0D0-382F-932D58979783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000" y="1285020"/>
            <a:ext cx="5486400" cy="3903784"/>
          </a:xfrm>
          <a:noFill/>
        </p:spPr>
      </p:pic>
    </p:spTree>
    <p:extLst>
      <p:ext uri="{BB962C8B-B14F-4D97-AF65-F5344CB8AC3E}">
        <p14:creationId xmlns:p14="http://schemas.microsoft.com/office/powerpoint/2010/main" val="13646746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61CBBF-371D-3D04-53F6-CE09DE1C48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rsaTRAK</a:t>
            </a:r>
            <a:r>
              <a:rPr lang="en-US" dirty="0">
                <a:latin typeface="Abadi" panose="020B0604020104020204" pitchFamily="34" charset="0"/>
              </a:rPr>
              <a:t>®</a:t>
            </a:r>
            <a:r>
              <a:rPr lang="en-US" dirty="0"/>
              <a:t> RTUs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048A27-6EC5-E829-6374-9322DC4E50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en-US" dirty="0"/>
              <a:t>Order Guide</a:t>
            </a:r>
            <a:endParaRPr lang="en-IN" dirty="0"/>
          </a:p>
        </p:txBody>
      </p:sp>
      <p:graphicFrame>
        <p:nvGraphicFramePr>
          <p:cNvPr id="5" name="Group 131">
            <a:extLst>
              <a:ext uri="{FF2B5EF4-FFF2-40B4-BE49-F238E27FC236}">
                <a16:creationId xmlns:a16="http://schemas.microsoft.com/office/drawing/2014/main" id="{EA7E5B45-D529-E6F3-D319-A1D4D0094B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0807232"/>
              </p:ext>
            </p:extLst>
          </p:nvPr>
        </p:nvGraphicFramePr>
        <p:xfrm>
          <a:off x="609600" y="1988840"/>
          <a:ext cx="10972168" cy="2664295"/>
        </p:xfrm>
        <a:graphic>
          <a:graphicData uri="http://schemas.openxmlformats.org/drawingml/2006/table">
            <a:tbl>
              <a:tblPr>
                <a:tableStyleId>{8FD4443E-F989-4FC4-A0C8-D5A2AF1F390B}</a:tableStyleId>
              </a:tblPr>
              <a:tblGrid>
                <a:gridCol w="2017610">
                  <a:extLst>
                    <a:ext uri="{9D8B030D-6E8A-4147-A177-3AD203B41FA5}">
                      <a16:colId xmlns:a16="http://schemas.microsoft.com/office/drawing/2014/main" val="4047445660"/>
                    </a:ext>
                  </a:extLst>
                </a:gridCol>
                <a:gridCol w="716458">
                  <a:extLst>
                    <a:ext uri="{9D8B030D-6E8A-4147-A177-3AD203B41FA5}">
                      <a16:colId xmlns:a16="http://schemas.microsoft.com/office/drawing/2014/main" val="1214117118"/>
                    </a:ext>
                  </a:extLst>
                </a:gridCol>
                <a:gridCol w="915344">
                  <a:extLst>
                    <a:ext uri="{9D8B030D-6E8A-4147-A177-3AD203B41FA5}">
                      <a16:colId xmlns:a16="http://schemas.microsoft.com/office/drawing/2014/main" val="3697115861"/>
                    </a:ext>
                  </a:extLst>
                </a:gridCol>
                <a:gridCol w="915345">
                  <a:extLst>
                    <a:ext uri="{9D8B030D-6E8A-4147-A177-3AD203B41FA5}">
                      <a16:colId xmlns:a16="http://schemas.microsoft.com/office/drawing/2014/main" val="1287439477"/>
                    </a:ext>
                  </a:extLst>
                </a:gridCol>
                <a:gridCol w="915344">
                  <a:extLst>
                    <a:ext uri="{9D8B030D-6E8A-4147-A177-3AD203B41FA5}">
                      <a16:colId xmlns:a16="http://schemas.microsoft.com/office/drawing/2014/main" val="811632612"/>
                    </a:ext>
                  </a:extLst>
                </a:gridCol>
                <a:gridCol w="915345">
                  <a:extLst>
                    <a:ext uri="{9D8B030D-6E8A-4147-A177-3AD203B41FA5}">
                      <a16:colId xmlns:a16="http://schemas.microsoft.com/office/drawing/2014/main" val="3134288966"/>
                    </a:ext>
                  </a:extLst>
                </a:gridCol>
                <a:gridCol w="915344">
                  <a:extLst>
                    <a:ext uri="{9D8B030D-6E8A-4147-A177-3AD203B41FA5}">
                      <a16:colId xmlns:a16="http://schemas.microsoft.com/office/drawing/2014/main" val="2673128064"/>
                    </a:ext>
                  </a:extLst>
                </a:gridCol>
                <a:gridCol w="915345">
                  <a:extLst>
                    <a:ext uri="{9D8B030D-6E8A-4147-A177-3AD203B41FA5}">
                      <a16:colId xmlns:a16="http://schemas.microsoft.com/office/drawing/2014/main" val="3369173388"/>
                    </a:ext>
                  </a:extLst>
                </a:gridCol>
                <a:gridCol w="915344">
                  <a:extLst>
                    <a:ext uri="{9D8B030D-6E8A-4147-A177-3AD203B41FA5}">
                      <a16:colId xmlns:a16="http://schemas.microsoft.com/office/drawing/2014/main" val="1707369138"/>
                    </a:ext>
                  </a:extLst>
                </a:gridCol>
                <a:gridCol w="915345">
                  <a:extLst>
                    <a:ext uri="{9D8B030D-6E8A-4147-A177-3AD203B41FA5}">
                      <a16:colId xmlns:a16="http://schemas.microsoft.com/office/drawing/2014/main" val="614473134"/>
                    </a:ext>
                  </a:extLst>
                </a:gridCol>
                <a:gridCol w="915344">
                  <a:extLst>
                    <a:ext uri="{9D8B030D-6E8A-4147-A177-3AD203B41FA5}">
                      <a16:colId xmlns:a16="http://schemas.microsoft.com/office/drawing/2014/main" val="3590208514"/>
                    </a:ext>
                  </a:extLst>
                </a:gridCol>
              </a:tblGrid>
              <a:tr h="710526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 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PORTS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ON-BOARD I/O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MEMORY</a:t>
                      </a:r>
                      <a:endParaRPr kumimoji="0" lang="en-US" alt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3941774"/>
                  </a:ext>
                </a:extLst>
              </a:tr>
              <a:tr h="814475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Part Number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Eth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23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485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DI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DO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AI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AO</a:t>
                      </a:r>
                      <a:endParaRPr kumimoji="0" lang="en-US" alt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NVRAM</a:t>
                      </a:r>
                      <a:endParaRPr kumimoji="0" lang="en-US" alt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FLASH</a:t>
                      </a:r>
                      <a:endParaRPr kumimoji="0" lang="en-US" alt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DRAM</a:t>
                      </a:r>
                      <a:endParaRPr kumimoji="0" lang="en-US" alt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6734115"/>
                  </a:ext>
                </a:extLst>
              </a:tr>
              <a:tr h="569647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VT-MIPM-248-D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1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4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8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8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51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51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3344630"/>
                  </a:ext>
                </a:extLst>
              </a:tr>
              <a:tr h="569647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VT-MIPM-138-D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1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8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6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8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51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u="none" strike="noStrike" cap="none" normalizeH="0" baseline="0" dirty="0">
                          <a:ln>
                            <a:noFill/>
                          </a:ln>
                          <a:solidFill>
                            <a:srgbClr val="63666A"/>
                          </a:solidFill>
                          <a:effectLst/>
                          <a:latin typeface="Lato" panose="020F0502020204030203" pitchFamily="34" charset="0"/>
                        </a:rPr>
                        <a:t>51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63666A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77015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35371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3C702-080C-BFCD-9503-76CAAB4F4D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/>
              <a:t>VT-mIPm-248-D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D5FBE3-D65D-3C42-CB54-287A803114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altLang="en-US" dirty="0"/>
              <a:t>Cross Reference Guide</a:t>
            </a:r>
            <a:br>
              <a:rPr lang="en-US" altLang="en-US" dirty="0"/>
            </a:br>
            <a:r>
              <a:rPr lang="en-US" altLang="en-US" sz="1400" dirty="0"/>
              <a:t>VT-mIPm-248-D is a suitable upgrade to the parts below</a:t>
            </a:r>
            <a:endParaRPr lang="en-IN" dirty="0"/>
          </a:p>
        </p:txBody>
      </p:sp>
      <p:graphicFrame>
        <p:nvGraphicFramePr>
          <p:cNvPr id="5" name="Group 131">
            <a:extLst>
              <a:ext uri="{FF2B5EF4-FFF2-40B4-BE49-F238E27FC236}">
                <a16:creationId xmlns:a16="http://schemas.microsoft.com/office/drawing/2014/main" id="{A0660B2E-27DB-6259-D6A2-DEF48167FB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4907899"/>
              </p:ext>
            </p:extLst>
          </p:nvPr>
        </p:nvGraphicFramePr>
        <p:xfrm>
          <a:off x="609600" y="1628800"/>
          <a:ext cx="10972803" cy="4620832"/>
        </p:xfrm>
        <a:graphic>
          <a:graphicData uri="http://schemas.openxmlformats.org/drawingml/2006/table">
            <a:tbl>
              <a:tblPr/>
              <a:tblGrid>
                <a:gridCol w="2017726">
                  <a:extLst>
                    <a:ext uri="{9D8B030D-6E8A-4147-A177-3AD203B41FA5}">
                      <a16:colId xmlns:a16="http://schemas.microsoft.com/office/drawing/2014/main" val="4047445660"/>
                    </a:ext>
                  </a:extLst>
                </a:gridCol>
                <a:gridCol w="716500">
                  <a:extLst>
                    <a:ext uri="{9D8B030D-6E8A-4147-A177-3AD203B41FA5}">
                      <a16:colId xmlns:a16="http://schemas.microsoft.com/office/drawing/2014/main" val="1214117118"/>
                    </a:ext>
                  </a:extLst>
                </a:gridCol>
                <a:gridCol w="915397">
                  <a:extLst>
                    <a:ext uri="{9D8B030D-6E8A-4147-A177-3AD203B41FA5}">
                      <a16:colId xmlns:a16="http://schemas.microsoft.com/office/drawing/2014/main" val="3697115861"/>
                    </a:ext>
                  </a:extLst>
                </a:gridCol>
                <a:gridCol w="915398">
                  <a:extLst>
                    <a:ext uri="{9D8B030D-6E8A-4147-A177-3AD203B41FA5}">
                      <a16:colId xmlns:a16="http://schemas.microsoft.com/office/drawing/2014/main" val="1287439477"/>
                    </a:ext>
                  </a:extLst>
                </a:gridCol>
                <a:gridCol w="915397">
                  <a:extLst>
                    <a:ext uri="{9D8B030D-6E8A-4147-A177-3AD203B41FA5}">
                      <a16:colId xmlns:a16="http://schemas.microsoft.com/office/drawing/2014/main" val="811632612"/>
                    </a:ext>
                  </a:extLst>
                </a:gridCol>
                <a:gridCol w="915398">
                  <a:extLst>
                    <a:ext uri="{9D8B030D-6E8A-4147-A177-3AD203B41FA5}">
                      <a16:colId xmlns:a16="http://schemas.microsoft.com/office/drawing/2014/main" val="3134288966"/>
                    </a:ext>
                  </a:extLst>
                </a:gridCol>
                <a:gridCol w="915397">
                  <a:extLst>
                    <a:ext uri="{9D8B030D-6E8A-4147-A177-3AD203B41FA5}">
                      <a16:colId xmlns:a16="http://schemas.microsoft.com/office/drawing/2014/main" val="2673128064"/>
                    </a:ext>
                  </a:extLst>
                </a:gridCol>
                <a:gridCol w="915398">
                  <a:extLst>
                    <a:ext uri="{9D8B030D-6E8A-4147-A177-3AD203B41FA5}">
                      <a16:colId xmlns:a16="http://schemas.microsoft.com/office/drawing/2014/main" val="3369173388"/>
                    </a:ext>
                  </a:extLst>
                </a:gridCol>
                <a:gridCol w="915397">
                  <a:extLst>
                    <a:ext uri="{9D8B030D-6E8A-4147-A177-3AD203B41FA5}">
                      <a16:colId xmlns:a16="http://schemas.microsoft.com/office/drawing/2014/main" val="1707369138"/>
                    </a:ext>
                  </a:extLst>
                </a:gridCol>
                <a:gridCol w="915398">
                  <a:extLst>
                    <a:ext uri="{9D8B030D-6E8A-4147-A177-3AD203B41FA5}">
                      <a16:colId xmlns:a16="http://schemas.microsoft.com/office/drawing/2014/main" val="614473134"/>
                    </a:ext>
                  </a:extLst>
                </a:gridCol>
                <a:gridCol w="915397">
                  <a:extLst>
                    <a:ext uri="{9D8B030D-6E8A-4147-A177-3AD203B41FA5}">
                      <a16:colId xmlns:a16="http://schemas.microsoft.com/office/drawing/2014/main" val="3590208514"/>
                    </a:ext>
                  </a:extLst>
                </a:gridCol>
              </a:tblGrid>
              <a:tr h="72008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 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PORTS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ON-BOARD I/O</a:t>
                      </a:r>
                      <a:endParaRPr kumimoji="0" lang="en-US" alt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MEMORY</a:t>
                      </a:r>
                      <a:endParaRPr kumimoji="0" lang="en-US" alt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3941774"/>
                  </a:ext>
                </a:extLst>
              </a:tr>
              <a:tr h="72008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Part Number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Eth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3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485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DI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DO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AI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AO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NVRA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FLASH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DRA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6734115"/>
                  </a:ext>
                </a:extLst>
              </a:tr>
              <a:tr h="530112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VT-MIPM-248-D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4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8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8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51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51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3344630"/>
                  </a:ext>
                </a:extLst>
              </a:tr>
              <a:tr h="530112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VT-MIPM-241-D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4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8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512K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6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6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7701502"/>
                  </a:ext>
                </a:extLst>
              </a:tr>
              <a:tr h="530112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VT-MIPM-245-D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4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8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512K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64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3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45604"/>
                  </a:ext>
                </a:extLst>
              </a:tr>
              <a:tr h="530112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VT-IPM2M-113-D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4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8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512K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3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3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56493"/>
                  </a:ext>
                </a:extLst>
              </a:tr>
              <a:tr h="530112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VT-IPM2M-213-D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4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8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512K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3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3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560691"/>
                  </a:ext>
                </a:extLst>
              </a:tr>
              <a:tr h="530112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VT-UIPM-431-H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8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4</a:t>
                      </a:r>
                      <a:endParaRPr kumimoji="0" lang="en-US" altLang="en-US" sz="1400" b="0" i="0" u="none" strike="noStrike" cap="none" normalizeH="0" baseline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512K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6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6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6976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52451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E2F9F4-4E5C-31C1-28E4-3E6F7A4E8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/>
              <a:t>VT-mIPm-138-D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EAB0F4-9348-1344-40F6-184E4BD72F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altLang="en-US" dirty="0"/>
              <a:t>Cross Reference Guide</a:t>
            </a:r>
            <a:br>
              <a:rPr lang="en-US" altLang="en-US" dirty="0"/>
            </a:br>
            <a:r>
              <a:rPr lang="en-US" altLang="en-US" sz="1400" dirty="0"/>
              <a:t>VT-mIPm-138-D is a suitable upgrade to the parts below</a:t>
            </a:r>
            <a:endParaRPr lang="en-IN" dirty="0"/>
          </a:p>
        </p:txBody>
      </p:sp>
      <p:graphicFrame>
        <p:nvGraphicFramePr>
          <p:cNvPr id="5" name="Group 131">
            <a:extLst>
              <a:ext uri="{FF2B5EF4-FFF2-40B4-BE49-F238E27FC236}">
                <a16:creationId xmlns:a16="http://schemas.microsoft.com/office/drawing/2014/main" id="{855944B0-D517-CD78-2302-DEDF35A6F5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9574810"/>
              </p:ext>
            </p:extLst>
          </p:nvPr>
        </p:nvGraphicFramePr>
        <p:xfrm>
          <a:off x="609600" y="1600200"/>
          <a:ext cx="10972168" cy="4179959"/>
        </p:xfrm>
        <a:graphic>
          <a:graphicData uri="http://schemas.openxmlformats.org/drawingml/2006/table">
            <a:tbl>
              <a:tblPr/>
              <a:tblGrid>
                <a:gridCol w="2017610">
                  <a:extLst>
                    <a:ext uri="{9D8B030D-6E8A-4147-A177-3AD203B41FA5}">
                      <a16:colId xmlns:a16="http://schemas.microsoft.com/office/drawing/2014/main" val="4047445660"/>
                    </a:ext>
                  </a:extLst>
                </a:gridCol>
                <a:gridCol w="716458">
                  <a:extLst>
                    <a:ext uri="{9D8B030D-6E8A-4147-A177-3AD203B41FA5}">
                      <a16:colId xmlns:a16="http://schemas.microsoft.com/office/drawing/2014/main" val="1214117118"/>
                    </a:ext>
                  </a:extLst>
                </a:gridCol>
                <a:gridCol w="915344">
                  <a:extLst>
                    <a:ext uri="{9D8B030D-6E8A-4147-A177-3AD203B41FA5}">
                      <a16:colId xmlns:a16="http://schemas.microsoft.com/office/drawing/2014/main" val="3697115861"/>
                    </a:ext>
                  </a:extLst>
                </a:gridCol>
                <a:gridCol w="915345">
                  <a:extLst>
                    <a:ext uri="{9D8B030D-6E8A-4147-A177-3AD203B41FA5}">
                      <a16:colId xmlns:a16="http://schemas.microsoft.com/office/drawing/2014/main" val="1287439477"/>
                    </a:ext>
                  </a:extLst>
                </a:gridCol>
                <a:gridCol w="915344">
                  <a:extLst>
                    <a:ext uri="{9D8B030D-6E8A-4147-A177-3AD203B41FA5}">
                      <a16:colId xmlns:a16="http://schemas.microsoft.com/office/drawing/2014/main" val="811632612"/>
                    </a:ext>
                  </a:extLst>
                </a:gridCol>
                <a:gridCol w="915345">
                  <a:extLst>
                    <a:ext uri="{9D8B030D-6E8A-4147-A177-3AD203B41FA5}">
                      <a16:colId xmlns:a16="http://schemas.microsoft.com/office/drawing/2014/main" val="3134288966"/>
                    </a:ext>
                  </a:extLst>
                </a:gridCol>
                <a:gridCol w="915344">
                  <a:extLst>
                    <a:ext uri="{9D8B030D-6E8A-4147-A177-3AD203B41FA5}">
                      <a16:colId xmlns:a16="http://schemas.microsoft.com/office/drawing/2014/main" val="2673128064"/>
                    </a:ext>
                  </a:extLst>
                </a:gridCol>
                <a:gridCol w="915345">
                  <a:extLst>
                    <a:ext uri="{9D8B030D-6E8A-4147-A177-3AD203B41FA5}">
                      <a16:colId xmlns:a16="http://schemas.microsoft.com/office/drawing/2014/main" val="3369173388"/>
                    </a:ext>
                  </a:extLst>
                </a:gridCol>
                <a:gridCol w="915344">
                  <a:extLst>
                    <a:ext uri="{9D8B030D-6E8A-4147-A177-3AD203B41FA5}">
                      <a16:colId xmlns:a16="http://schemas.microsoft.com/office/drawing/2014/main" val="1707369138"/>
                    </a:ext>
                  </a:extLst>
                </a:gridCol>
                <a:gridCol w="915345">
                  <a:extLst>
                    <a:ext uri="{9D8B030D-6E8A-4147-A177-3AD203B41FA5}">
                      <a16:colId xmlns:a16="http://schemas.microsoft.com/office/drawing/2014/main" val="614473134"/>
                    </a:ext>
                  </a:extLst>
                </a:gridCol>
                <a:gridCol w="915344">
                  <a:extLst>
                    <a:ext uri="{9D8B030D-6E8A-4147-A177-3AD203B41FA5}">
                      <a16:colId xmlns:a16="http://schemas.microsoft.com/office/drawing/2014/main" val="3590208514"/>
                    </a:ext>
                  </a:extLst>
                </a:gridCol>
              </a:tblGrid>
              <a:tr h="748680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 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gridSpan="3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PORTS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ON-BOARD I/O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MEMORY</a:t>
                      </a:r>
                      <a:endParaRPr kumimoji="0" lang="en-US" alt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3941774"/>
                  </a:ext>
                </a:extLst>
              </a:tr>
              <a:tr h="740867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Part Number</a:t>
                      </a:r>
                      <a:endParaRPr kumimoji="0" lang="en-US" alt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Eth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32</a:t>
                      </a:r>
                      <a:endParaRPr kumimoji="0" lang="en-US" altLang="en-US" sz="1400" b="0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485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DI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DO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AI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AO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NVRA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FLASH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DRA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6734115"/>
                  </a:ext>
                </a:extLst>
              </a:tr>
              <a:tr h="672603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VT-MIPM-138-D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8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6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8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51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1C1C1C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51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1C1C1C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7701502"/>
                  </a:ext>
                </a:extLst>
              </a:tr>
              <a:tr h="672603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VT-MIPM-131-D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8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6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512K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6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6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390775"/>
                  </a:ext>
                </a:extLst>
              </a:tr>
              <a:tr h="672603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VT-MIPM-135-D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8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6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512K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64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32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56493"/>
                  </a:ext>
                </a:extLst>
              </a:tr>
              <a:tr h="672603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VT-UIPM-431-H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8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4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2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512K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6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B2B2B2"/>
                          </a:solidFill>
                          <a:effectLst/>
                          <a:latin typeface="Lato" panose="020F0502020204030203" pitchFamily="34" charset="0"/>
                          <a:ea typeface="MS PGothic" panose="020B0600070205080204" pitchFamily="34" charset="-128"/>
                          <a:cs typeface="Arial" panose="020B0604020202020204" pitchFamily="34" charset="0"/>
                        </a:rPr>
                        <a:t>16M</a:t>
                      </a:r>
                      <a:endParaRPr kumimoji="0" lang="en-US" alt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rgbClr val="B2B2B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69765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51706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EDAC10-1E60-86CB-DD86-683958C6D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T-mIPm-248-D, Graphite HMI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2679B5-7523-598A-E052-02402844BF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atural Gas Monitoring and Control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2BA5C8A-E1AB-FF61-00BB-E88DBCB51A0C}"/>
              </a:ext>
            </a:extLst>
          </p:cNvPr>
          <p:cNvGrpSpPr/>
          <p:nvPr/>
        </p:nvGrpSpPr>
        <p:grpSpPr>
          <a:xfrm>
            <a:off x="609599" y="1406164"/>
            <a:ext cx="10972165" cy="4433664"/>
            <a:chOff x="223837" y="450443"/>
            <a:chExt cx="11744325" cy="4702582"/>
          </a:xfrm>
        </p:grpSpPr>
        <p:pic>
          <p:nvPicPr>
            <p:cNvPr id="6" name="Picture 5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68EA2FA5-CA93-3226-E23A-FA1B6FD30E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3837" y="1704975"/>
              <a:ext cx="11744325" cy="3448050"/>
            </a:xfrm>
            <a:prstGeom prst="rect">
              <a:avLst/>
            </a:prstGeom>
          </p:spPr>
        </p:pic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C184734F-B51C-4C76-2F82-DDB7D232C21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76957" y="1853103"/>
              <a:ext cx="252882" cy="1691640"/>
            </a:xfrm>
            <a:prstGeom prst="line">
              <a:avLst/>
            </a:prstGeom>
            <a:ln w="3810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" name="Picture 7" descr="A close up of a logo&#10;&#10;Description automatically generated">
              <a:extLst>
                <a:ext uri="{FF2B5EF4-FFF2-40B4-BE49-F238E27FC236}">
                  <a16:creationId xmlns:a16="http://schemas.microsoft.com/office/drawing/2014/main" id="{9327241D-F0A9-21D2-5941-995A6EC7D67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9199" y="3224630"/>
              <a:ext cx="779147" cy="722334"/>
            </a:xfrm>
            <a:prstGeom prst="rect">
              <a:avLst/>
            </a:prstGeom>
          </p:spPr>
        </p:pic>
        <p:pic>
          <p:nvPicPr>
            <p:cNvPr id="9" name="Picture 8" descr="A sign on the screen&#10;&#10;Description automatically generated">
              <a:extLst>
                <a:ext uri="{FF2B5EF4-FFF2-40B4-BE49-F238E27FC236}">
                  <a16:creationId xmlns:a16="http://schemas.microsoft.com/office/drawing/2014/main" id="{E746D540-D31C-DC82-60CD-694B92CEF6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339" t="26642" r="21996" b="26701"/>
            <a:stretch/>
          </p:blipFill>
          <p:spPr>
            <a:xfrm>
              <a:off x="7092608" y="450443"/>
              <a:ext cx="2082932" cy="1777737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2E76281-7557-E67F-0ADD-02C5688A4941}"/>
                </a:ext>
              </a:extLst>
            </p:cNvPr>
            <p:cNvSpPr txBox="1"/>
            <p:nvPr/>
          </p:nvSpPr>
          <p:spPr>
            <a:xfrm>
              <a:off x="5717334" y="4088980"/>
              <a:ext cx="1140688" cy="834181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sz="1600" dirty="0">
                  <a:latin typeface="Lato" panose="020F0502020204030203" pitchFamily="34" charset="0"/>
                </a:rPr>
                <a:t>City Gate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D440961-6C4B-D343-A558-97DA43B20A75}"/>
                </a:ext>
              </a:extLst>
            </p:cNvPr>
            <p:cNvSpPr txBox="1"/>
            <p:nvPr/>
          </p:nvSpPr>
          <p:spPr>
            <a:xfrm>
              <a:off x="10133814" y="4014636"/>
              <a:ext cx="1338607" cy="41699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600" dirty="0">
                  <a:latin typeface="Lato" panose="020F0502020204030203" pitchFamily="34" charset="0"/>
                </a:rPr>
                <a:t>Home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5F82A60-9331-DBA1-2B15-D72A96A84C46}"/>
                </a:ext>
              </a:extLst>
            </p:cNvPr>
            <p:cNvSpPr txBox="1"/>
            <p:nvPr/>
          </p:nvSpPr>
          <p:spPr>
            <a:xfrm>
              <a:off x="986855" y="3682273"/>
              <a:ext cx="1454687" cy="332363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sz="1600" dirty="0">
                  <a:latin typeface="Lato" panose="020F0502020204030203" pitchFamily="34" charset="0"/>
                </a:rPr>
                <a:t>Storage</a:t>
              </a:r>
            </a:p>
          </p:txBody>
        </p:sp>
        <p:cxnSp>
          <p:nvCxnSpPr>
            <p:cNvPr id="13" name="Connector: Elbow 12">
              <a:extLst>
                <a:ext uri="{FF2B5EF4-FFF2-40B4-BE49-F238E27FC236}">
                  <a16:creationId xmlns:a16="http://schemas.microsoft.com/office/drawing/2014/main" id="{C84355CF-7A8A-C05C-D190-A4AB0AD878EE}"/>
                </a:ext>
              </a:extLst>
            </p:cNvPr>
            <p:cNvCxnSpPr>
              <a:cxnSpLocks/>
            </p:cNvCxnSpPr>
            <p:nvPr/>
          </p:nvCxnSpPr>
          <p:spPr>
            <a:xfrm>
              <a:off x="6327159" y="1192323"/>
              <a:ext cx="765449" cy="1"/>
            </a:xfrm>
            <a:prstGeom prst="bentConnector3">
              <a:avLst/>
            </a:prstGeom>
            <a:ln w="38100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0C5E7B02-8CA7-28D2-C8F9-B7B6158FDDF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917822" y="1853103"/>
              <a:ext cx="1300019" cy="1506973"/>
            </a:xfrm>
            <a:prstGeom prst="line">
              <a:avLst/>
            </a:prstGeom>
            <a:ln w="3810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Picture 14" descr="A picture containing object, clock&#10;&#10;Description automatically generated">
              <a:extLst>
                <a:ext uri="{FF2B5EF4-FFF2-40B4-BE49-F238E27FC236}">
                  <a16:creationId xmlns:a16="http://schemas.microsoft.com/office/drawing/2014/main" id="{66B12ED6-3795-E044-CA60-F21AFFB71A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17881" y="3249294"/>
              <a:ext cx="773941" cy="765342"/>
            </a:xfrm>
            <a:prstGeom prst="rect">
              <a:avLst/>
            </a:prstGeom>
          </p:spPr>
        </p:pic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2B15467C-6CE0-73E5-04AB-A47E7A46FE3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26988" y="1582611"/>
            <a:ext cx="1829846" cy="1302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6091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A1FAD0-E759-540D-CE00-79E2FAAE95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412EAD98-3A25-4B89-4EA9-BF370C194A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63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1" imgH="311" progId="TCLayout.ActiveDocument.1">
                  <p:embed/>
                </p:oleObj>
              </mc:Choice>
              <mc:Fallback>
                <p:oleObj name="think-cell Slide" r:id="rId3" imgW="311" imgH="311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2EAD98-3A25-4B89-4EA9-BF370C194A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D14A8DF5-2846-3C07-E32F-ECB853A5DA90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03059" y="2207043"/>
            <a:ext cx="2034745" cy="1447800"/>
          </a:xfr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FF6267B-B303-D46A-32B2-B559868B672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4460384"/>
            <a:ext cx="2519806" cy="1574799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Programmable</a:t>
            </a:r>
          </a:p>
          <a:p>
            <a:r>
              <a:rPr lang="en-US" dirty="0"/>
              <a:t>Redundant Operation</a:t>
            </a:r>
          </a:p>
          <a:p>
            <a:r>
              <a:rPr lang="en-US" dirty="0"/>
              <a:t>Datalogg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A88166-FE40-05E5-C520-4AF8338F95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duct Li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C92DCFB-3632-7148-6177-3BEA34E47910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RTU and I/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2FF5E9C-A46A-88EF-F951-90D66D5119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27759" y="4460384"/>
            <a:ext cx="2519806" cy="1574799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Programmable</a:t>
            </a:r>
          </a:p>
          <a:p>
            <a:r>
              <a:rPr lang="en-US" dirty="0"/>
              <a:t>Onboard I/O</a:t>
            </a:r>
          </a:p>
          <a:p>
            <a:r>
              <a:rPr lang="en-US" dirty="0"/>
              <a:t>Datalogg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051B432-DB85-95E1-2E9A-231B9AA807B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6648" y="1457950"/>
            <a:ext cx="2519806" cy="613230"/>
          </a:xfrm>
          <a:solidFill>
            <a:schemeClr val="tx2"/>
          </a:solidFill>
        </p:spPr>
        <p:txBody>
          <a:bodyPr/>
          <a:lstStyle/>
          <a:p>
            <a:r>
              <a:rPr lang="en-US" b="1" dirty="0"/>
              <a:t>ST-IPm-8460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8D1CA21-FF7C-9A9A-2CB0-F6E9A424B0AA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427759" y="1457950"/>
            <a:ext cx="2519806" cy="61323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VersaTRAK® RTU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VT-mIPm-138\248-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23EB357-0A71-FE14-D160-CAABC65AC42C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272553" y="1457950"/>
            <a:ext cx="2519806" cy="613230"/>
          </a:xfrm>
          <a:solidFill>
            <a:schemeClr val="tx2"/>
          </a:solidFill>
        </p:spPr>
        <p:txBody>
          <a:bodyPr/>
          <a:lstStyle/>
          <a:p>
            <a:r>
              <a:rPr lang="en-US" b="1" dirty="0"/>
              <a:t>Red Lion Workbenc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737A93F-F7B8-68F3-F506-A756049EF6D9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58330" y="1457950"/>
            <a:ext cx="2519806" cy="613230"/>
          </a:xfrm>
        </p:spPr>
        <p:txBody>
          <a:bodyPr/>
          <a:lstStyle/>
          <a:p>
            <a:r>
              <a:rPr lang="en-US" b="1" dirty="0"/>
              <a:t>EtherTRAK</a:t>
            </a:r>
            <a:r>
              <a:rPr lang="en-US" b="1" dirty="0">
                <a:latin typeface="Abadi" panose="020B0604020104020204" pitchFamily="34" charset="0"/>
              </a:rPr>
              <a:t>® </a:t>
            </a:r>
            <a:r>
              <a:rPr lang="en-US" b="1" dirty="0"/>
              <a:t>-2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ED7EFED-AC83-0945-791F-914D4D2C6AD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3868" y="4460384"/>
            <a:ext cx="2519806" cy="1574799"/>
          </a:xfrm>
        </p:spPr>
        <p:txBody>
          <a:bodyPr/>
          <a:lstStyle/>
          <a:p>
            <a:r>
              <a:rPr lang="en-US" dirty="0"/>
              <a:t>5 Languages</a:t>
            </a:r>
          </a:p>
          <a:p>
            <a:r>
              <a:rPr lang="en-US" dirty="0"/>
              <a:t>Protocols</a:t>
            </a:r>
          </a:p>
          <a:p>
            <a:r>
              <a:rPr lang="en-US" dirty="0"/>
              <a:t>Redundancy</a:t>
            </a:r>
          </a:p>
          <a:p>
            <a:r>
              <a:rPr lang="en-US" dirty="0"/>
              <a:t>Two variable database or one variable databas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05FF95E-14BA-6B88-7F6A-6972E3C7919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8330" y="4460384"/>
            <a:ext cx="2519806" cy="1574799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Three Network Modes</a:t>
            </a:r>
          </a:p>
          <a:p>
            <a:r>
              <a:rPr lang="en-US" dirty="0"/>
              <a:t>Up 34 I/O</a:t>
            </a:r>
          </a:p>
          <a:p>
            <a:r>
              <a:rPr lang="en-US" dirty="0"/>
              <a:t>17 different models</a:t>
            </a:r>
          </a:p>
        </p:txBody>
      </p:sp>
      <p:pic>
        <p:nvPicPr>
          <p:cNvPr id="21" name="Content Placeholder 20">
            <a:extLst>
              <a:ext uri="{FF2B5EF4-FFF2-40B4-BE49-F238E27FC236}">
                <a16:creationId xmlns:a16="http://schemas.microsoft.com/office/drawing/2014/main" id="{7ED7A6E7-3403-B184-BABB-CF4273D35ED1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337" y="2254446"/>
            <a:ext cx="2026176" cy="1352994"/>
          </a:xfrm>
        </p:spPr>
      </p:pic>
      <p:pic>
        <p:nvPicPr>
          <p:cNvPr id="31" name="Content Placeholder 30">
            <a:extLst>
              <a:ext uri="{FF2B5EF4-FFF2-40B4-BE49-F238E27FC236}">
                <a16:creationId xmlns:a16="http://schemas.microsoft.com/office/drawing/2014/main" id="{2ED701E7-7A3F-076A-EBBD-01978B16E0E2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2136" y="2254446"/>
            <a:ext cx="1447800" cy="1447800"/>
          </a:xfrm>
        </p:spPr>
      </p:pic>
      <p:pic>
        <p:nvPicPr>
          <p:cNvPr id="29" name="Content Placeholder 28">
            <a:extLst>
              <a:ext uri="{FF2B5EF4-FFF2-40B4-BE49-F238E27FC236}">
                <a16:creationId xmlns:a16="http://schemas.microsoft.com/office/drawing/2014/main" id="{3FC0F4CF-AB73-E384-9979-68227F485C5B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7248" y="2254446"/>
            <a:ext cx="1554478" cy="1554478"/>
          </a:xfr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4F0F9C2-2194-517B-EFD2-3B8C51C2A3E7}"/>
              </a:ext>
            </a:extLst>
          </p:cNvPr>
          <p:cNvSpPr txBox="1"/>
          <p:nvPr/>
        </p:nvSpPr>
        <p:spPr>
          <a:xfrm>
            <a:off x="609600" y="3886017"/>
            <a:ext cx="252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3666A"/>
                </a:solidFill>
                <a:latin typeface="Lato" panose="020F0502020204030203" pitchFamily="34" charset="0"/>
              </a:rPr>
              <a:t>Programmable RTU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1475C6F-DAB7-4954-915A-6C466056AB29}"/>
              </a:ext>
            </a:extLst>
          </p:cNvPr>
          <p:cNvSpPr txBox="1"/>
          <p:nvPr/>
        </p:nvSpPr>
        <p:spPr>
          <a:xfrm>
            <a:off x="3442757" y="3886017"/>
            <a:ext cx="24898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3666A"/>
                </a:solidFill>
                <a:latin typeface="Lato" panose="020F0502020204030203" pitchFamily="34" charset="0"/>
              </a:rPr>
              <a:t>New Programmable RTU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C035B18-7B40-5021-435C-983B9A769C54}"/>
              </a:ext>
            </a:extLst>
          </p:cNvPr>
          <p:cNvSpPr txBox="1"/>
          <p:nvPr/>
        </p:nvSpPr>
        <p:spPr>
          <a:xfrm>
            <a:off x="6246820" y="3886017"/>
            <a:ext cx="25268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63666A"/>
                </a:solidFill>
                <a:latin typeface="Lato" panose="020F0502020204030203" pitchFamily="34" charset="0"/>
              </a:rPr>
              <a:t>Programming IEC 61131-3 Workbench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3F419E1-D940-F1EA-97FC-7D78EF4B4729}"/>
              </a:ext>
            </a:extLst>
          </p:cNvPr>
          <p:cNvSpPr txBox="1"/>
          <p:nvPr/>
        </p:nvSpPr>
        <p:spPr>
          <a:xfrm>
            <a:off x="9072426" y="3886017"/>
            <a:ext cx="252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3666A"/>
                </a:solidFill>
                <a:latin typeface="Lato" panose="020F0502020204030203" pitchFamily="34" charset="0"/>
              </a:rPr>
              <a:t>Dual Ethernet I/O Modu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6A3013-5735-0D3E-135E-703F95451A5D}"/>
              </a:ext>
            </a:extLst>
          </p:cNvPr>
          <p:cNvSpPr/>
          <p:nvPr/>
        </p:nvSpPr>
        <p:spPr>
          <a:xfrm>
            <a:off x="8931542" y="1268760"/>
            <a:ext cx="3275928" cy="490344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l"/>
            <a:endParaRPr lang="en-IN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976FB20-0C55-8BFC-73B2-B3320CAE174C}"/>
              </a:ext>
            </a:extLst>
          </p:cNvPr>
          <p:cNvSpPr/>
          <p:nvPr/>
        </p:nvSpPr>
        <p:spPr>
          <a:xfrm>
            <a:off x="-2708708" y="1354304"/>
            <a:ext cx="8876594" cy="490344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l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961636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B4B5063-4A88-DE42-B58E-3ED2066B7F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0805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1" imgH="311" progId="TCLayout.ActiveDocument.1">
                  <p:embed/>
                </p:oleObj>
              </mc:Choice>
              <mc:Fallback>
                <p:oleObj name="think-cell Slide" r:id="rId3" imgW="311" imgH="311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4B5063-4A88-DE42-B58E-3ED2066B7F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83D00B4-AECF-1920-B13B-A338BB7B32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IN" dirty="0"/>
              <a:t>RTU and I/O</a:t>
            </a:r>
          </a:p>
        </p:txBody>
      </p:sp>
    </p:spTree>
    <p:extLst>
      <p:ext uri="{BB962C8B-B14F-4D97-AF65-F5344CB8AC3E}">
        <p14:creationId xmlns:p14="http://schemas.microsoft.com/office/powerpoint/2010/main" val="21585169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9EE6B-506C-0746-BFB2-B0F5D6A36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 Lion Workben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C8ECE0-67F1-865E-29B1-AAB0B3EB5F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EC61131-3 Programming</a:t>
            </a:r>
          </a:p>
        </p:txBody>
      </p:sp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A603C8FD-C566-57DA-6507-437EB4D545D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1901" r="-1" b="-1901"/>
          <a:stretch/>
        </p:blipFill>
        <p:spPr>
          <a:xfrm>
            <a:off x="8393573" y="3933056"/>
            <a:ext cx="3011400" cy="2087892"/>
          </a:xfrm>
          <a:noFill/>
        </p:spPr>
      </p:pic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5BB52AE5-E145-0B45-8A93-1C897EABABA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75" t="-22206" r="-2275" b="-22206"/>
          <a:stretch/>
        </p:blipFill>
        <p:spPr>
          <a:xfrm>
            <a:off x="5459048" y="659918"/>
            <a:ext cx="2712248" cy="2560857"/>
          </a:xfrm>
          <a:noFill/>
        </p:spPr>
      </p:pic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EDB1E486-2844-D827-1679-BFC75B1419D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1901" r="-1" b="-1901"/>
          <a:stretch/>
        </p:blipFill>
        <p:spPr>
          <a:xfrm>
            <a:off x="5087888" y="3883131"/>
            <a:ext cx="3083408" cy="2137817"/>
          </a:xfrm>
          <a:noFill/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38D2DD9-E0C0-5641-C384-55B8DFD41A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sz="1600" b="1" dirty="0"/>
              <a:t>5 Programming Languages</a:t>
            </a:r>
          </a:p>
          <a:p>
            <a:pPr lvl="1"/>
            <a:r>
              <a:rPr lang="en-US" sz="1400" dirty="0"/>
              <a:t>ST, SFC/CFC, IL, FBD, LD</a:t>
            </a:r>
          </a:p>
          <a:p>
            <a:r>
              <a:rPr lang="en-US" sz="1600" b="1" dirty="0"/>
              <a:t>Many Protocols Supported</a:t>
            </a:r>
          </a:p>
          <a:p>
            <a:pPr lvl="1"/>
            <a:r>
              <a:rPr lang="en-US" sz="1400" dirty="0"/>
              <a:t>Modbus Included</a:t>
            </a:r>
          </a:p>
          <a:p>
            <a:pPr lvl="1"/>
            <a:r>
              <a:rPr lang="en-US" sz="1400" dirty="0"/>
              <a:t>DNP3 (Future)</a:t>
            </a:r>
          </a:p>
          <a:p>
            <a:pPr lvl="1"/>
            <a:r>
              <a:rPr lang="en-US" sz="1400" dirty="0"/>
              <a:t>IEC60870 (Future)</a:t>
            </a:r>
          </a:p>
          <a:p>
            <a:pPr lvl="1"/>
            <a:r>
              <a:rPr lang="en-US" sz="1400" dirty="0"/>
              <a:t>IEC61850 (Future)</a:t>
            </a:r>
          </a:p>
          <a:p>
            <a:pPr lvl="1"/>
            <a:r>
              <a:rPr lang="en-US" sz="1400" dirty="0"/>
              <a:t>Ethernet/IP (Future)</a:t>
            </a:r>
          </a:p>
          <a:p>
            <a:r>
              <a:rPr lang="en-US" sz="1600" b="1" dirty="0"/>
              <a:t>Controller Redundancy</a:t>
            </a:r>
          </a:p>
          <a:p>
            <a:pPr lvl="1"/>
            <a:r>
              <a:rPr lang="en-US" sz="1400" dirty="0"/>
              <a:t>Bump less transfer</a:t>
            </a:r>
          </a:p>
          <a:p>
            <a:pPr lvl="1"/>
            <a:r>
              <a:rPr lang="en-US" sz="1400" dirty="0"/>
              <a:t>Fast Switchov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9F16AA-1FF1-E3AC-F0BA-1BAEFE0A4B68}"/>
              </a:ext>
            </a:extLst>
          </p:cNvPr>
          <p:cNvSpPr/>
          <p:nvPr/>
        </p:nvSpPr>
        <p:spPr>
          <a:xfrm>
            <a:off x="7241445" y="5354723"/>
            <a:ext cx="1152128" cy="609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Lato" panose="020F0502020204030203" pitchFamily="34" charset="0"/>
              </a:rPr>
              <a:t>Primar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D9B6494-E6EB-7E2A-0649-CCE013C41858}"/>
              </a:ext>
            </a:extLst>
          </p:cNvPr>
          <p:cNvSpPr/>
          <p:nvPr/>
        </p:nvSpPr>
        <p:spPr>
          <a:xfrm>
            <a:off x="10435369" y="5354723"/>
            <a:ext cx="1147031" cy="609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Lato" panose="020F0502020204030203" pitchFamily="34" charset="0"/>
              </a:rPr>
              <a:t>Secondary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D376C178-8BD4-AC05-490E-251A154A3E2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29" t="-37722" r="-4429" b="-37722"/>
          <a:stretch/>
        </p:blipFill>
        <p:spPr>
          <a:xfrm>
            <a:off x="8954066" y="429579"/>
            <a:ext cx="2433320" cy="2791196"/>
          </a:xfrm>
          <a:noFill/>
        </p:spPr>
      </p:pic>
    </p:spTree>
    <p:extLst>
      <p:ext uri="{BB962C8B-B14F-4D97-AF65-F5344CB8AC3E}">
        <p14:creationId xmlns:p14="http://schemas.microsoft.com/office/powerpoint/2010/main" val="10188387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Arrow: Right 33">
            <a:extLst>
              <a:ext uri="{FF2B5EF4-FFF2-40B4-BE49-F238E27FC236}">
                <a16:creationId xmlns:a16="http://schemas.microsoft.com/office/drawing/2014/main" id="{64D6171F-1A6A-0BB0-813D-3747C1669B7C}"/>
              </a:ext>
            </a:extLst>
          </p:cNvPr>
          <p:cNvSpPr/>
          <p:nvPr/>
        </p:nvSpPr>
        <p:spPr>
          <a:xfrm>
            <a:off x="3403180" y="1658402"/>
            <a:ext cx="792086" cy="454144"/>
          </a:xfrm>
          <a:prstGeom prst="rightArrow">
            <a:avLst/>
          </a:prstGeom>
          <a:solidFill>
            <a:schemeClr val="bg1">
              <a:lumMod val="50000"/>
            </a:schemeClr>
          </a:solidFill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l"/>
            <a:endParaRPr lang="en-IN">
              <a:latin typeface="Lato" panose="020F050202020403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D33FAA-173A-AC49-7680-E18304AD0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 Kit and Red Lion Workben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D605F1-BD85-48D1-E19A-9F9224D9F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eparate Variable Database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462F437-17D1-A1D0-BA85-17AA37D64E1C}"/>
              </a:ext>
            </a:extLst>
          </p:cNvPr>
          <p:cNvCxnSpPr>
            <a:cxnSpLocks/>
          </p:cNvCxnSpPr>
          <p:nvPr/>
        </p:nvCxnSpPr>
        <p:spPr>
          <a:xfrm>
            <a:off x="6305696" y="1152580"/>
            <a:ext cx="0" cy="5100206"/>
          </a:xfrm>
          <a:prstGeom prst="line">
            <a:avLst/>
          </a:prstGeom>
          <a:ln w="635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E99AB3E-BB6B-9075-4750-5281CB1041AA}"/>
              </a:ext>
            </a:extLst>
          </p:cNvPr>
          <p:cNvSpPr/>
          <p:nvPr/>
        </p:nvSpPr>
        <p:spPr>
          <a:xfrm>
            <a:off x="2833535" y="1329849"/>
            <a:ext cx="1931377" cy="101503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Lato" panose="020F0502020204030203" pitchFamily="34" charset="0"/>
              </a:rPr>
              <a:t>Tool Kit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E10754C-52D5-26CC-2018-EB61C13AD42B}"/>
              </a:ext>
            </a:extLst>
          </p:cNvPr>
          <p:cNvSpPr/>
          <p:nvPr/>
        </p:nvSpPr>
        <p:spPr>
          <a:xfrm>
            <a:off x="7938623" y="1333843"/>
            <a:ext cx="1931378" cy="101503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Lato" panose="020F0502020204030203" pitchFamily="34" charset="0"/>
              </a:rPr>
              <a:t>RL Workbenc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132B9F-2054-B5CD-EC1B-4D173D06AD49}"/>
              </a:ext>
            </a:extLst>
          </p:cNvPr>
          <p:cNvSpPr txBox="1"/>
          <p:nvPr/>
        </p:nvSpPr>
        <p:spPr>
          <a:xfrm>
            <a:off x="3707081" y="2811086"/>
            <a:ext cx="5197231" cy="369332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/>
                </a:solidFill>
                <a:latin typeface="Lato" panose="020F0502020204030203" pitchFamily="34" charset="0"/>
              </a:rPr>
              <a:t>When ever there is a change you must resync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5F7A8B6-DF94-2E2E-A496-E5894DBDBA31}"/>
              </a:ext>
            </a:extLst>
          </p:cNvPr>
          <p:cNvSpPr/>
          <p:nvPr/>
        </p:nvSpPr>
        <p:spPr>
          <a:xfrm>
            <a:off x="3756771" y="3409767"/>
            <a:ext cx="5119566" cy="2637692"/>
          </a:xfrm>
          <a:prstGeom prst="roundRect">
            <a:avLst/>
          </a:prstGeom>
          <a:noFill/>
          <a:ln w="666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dirty="0">
              <a:solidFill>
                <a:schemeClr val="tx2"/>
              </a:solidFill>
              <a:latin typeface="Lato" panose="020F0502020204030203" pitchFamily="34" charset="0"/>
            </a:endParaRPr>
          </a:p>
        </p:txBody>
      </p:sp>
      <p:sp>
        <p:nvSpPr>
          <p:cNvPr id="11" name="Cylinder 10">
            <a:extLst>
              <a:ext uri="{FF2B5EF4-FFF2-40B4-BE49-F238E27FC236}">
                <a16:creationId xmlns:a16="http://schemas.microsoft.com/office/drawing/2014/main" id="{6E4AEDA6-CBF0-4F00-FE29-3B8EDEA16394}"/>
              </a:ext>
            </a:extLst>
          </p:cNvPr>
          <p:cNvSpPr/>
          <p:nvPr/>
        </p:nvSpPr>
        <p:spPr>
          <a:xfrm>
            <a:off x="6881216" y="4279994"/>
            <a:ext cx="1594860" cy="1539864"/>
          </a:xfrm>
          <a:prstGeom prst="can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Lato" panose="020F0502020204030203" pitchFamily="34" charset="0"/>
              </a:rPr>
              <a:t>Red Lion   Runtime</a:t>
            </a:r>
          </a:p>
        </p:txBody>
      </p:sp>
      <p:sp>
        <p:nvSpPr>
          <p:cNvPr id="12" name="Cylinder 11">
            <a:extLst>
              <a:ext uri="{FF2B5EF4-FFF2-40B4-BE49-F238E27FC236}">
                <a16:creationId xmlns:a16="http://schemas.microsoft.com/office/drawing/2014/main" id="{0240B0F4-D680-6826-D330-1B84B938709F}"/>
              </a:ext>
            </a:extLst>
          </p:cNvPr>
          <p:cNvSpPr/>
          <p:nvPr/>
        </p:nvSpPr>
        <p:spPr>
          <a:xfrm>
            <a:off x="4115057" y="4331192"/>
            <a:ext cx="1573738" cy="1519470"/>
          </a:xfrm>
          <a:prstGeom prst="can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Lato" panose="020F0502020204030203" pitchFamily="34" charset="0"/>
              </a:rPr>
              <a:t>Tool Kit</a:t>
            </a:r>
          </a:p>
          <a:p>
            <a:pPr algn="ctr"/>
            <a:r>
              <a:rPr lang="en-US" sz="1400" dirty="0">
                <a:solidFill>
                  <a:schemeClr val="bg1"/>
                </a:solidFill>
                <a:latin typeface="Lato" panose="020F0502020204030203" pitchFamily="34" charset="0"/>
              </a:rPr>
              <a:t>I/O Database</a:t>
            </a:r>
          </a:p>
        </p:txBody>
      </p:sp>
      <p:sp>
        <p:nvSpPr>
          <p:cNvPr id="13" name="Arrow: Left-Right 12">
            <a:extLst>
              <a:ext uri="{FF2B5EF4-FFF2-40B4-BE49-F238E27FC236}">
                <a16:creationId xmlns:a16="http://schemas.microsoft.com/office/drawing/2014/main" id="{C93D6C71-0A73-D77A-FF22-EF390B901393}"/>
              </a:ext>
            </a:extLst>
          </p:cNvPr>
          <p:cNvSpPr/>
          <p:nvPr/>
        </p:nvSpPr>
        <p:spPr>
          <a:xfrm>
            <a:off x="5828101" y="4934354"/>
            <a:ext cx="955190" cy="543858"/>
          </a:xfrm>
          <a:prstGeom prst="leftRightArrow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Lato" panose="020F0502020204030203" pitchFamily="34" charset="0"/>
            </a:endParaRPr>
          </a:p>
        </p:txBody>
      </p:sp>
      <p:graphicFrame>
        <p:nvGraphicFramePr>
          <p:cNvPr id="14" name="Diagram 13">
            <a:extLst>
              <a:ext uri="{FF2B5EF4-FFF2-40B4-BE49-F238E27FC236}">
                <a16:creationId xmlns:a16="http://schemas.microsoft.com/office/drawing/2014/main" id="{8D0F5960-CC40-E84D-8731-6590CBA314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6487483"/>
              </p:ext>
            </p:extLst>
          </p:nvPr>
        </p:nvGraphicFramePr>
        <p:xfrm>
          <a:off x="598417" y="3189221"/>
          <a:ext cx="2858513" cy="26532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id="{5945B1C2-CC38-50EA-F475-69AD95B9F2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315045"/>
              </p:ext>
            </p:extLst>
          </p:nvPr>
        </p:nvGraphicFramePr>
        <p:xfrm>
          <a:off x="8937070" y="3189222"/>
          <a:ext cx="2533545" cy="29829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6" name="Rectangle 15">
            <a:extLst>
              <a:ext uri="{FF2B5EF4-FFF2-40B4-BE49-F238E27FC236}">
                <a16:creationId xmlns:a16="http://schemas.microsoft.com/office/drawing/2014/main" id="{07C653F9-7A29-379E-CD28-3699ACD91F16}"/>
              </a:ext>
            </a:extLst>
          </p:cNvPr>
          <p:cNvSpPr/>
          <p:nvPr/>
        </p:nvSpPr>
        <p:spPr>
          <a:xfrm>
            <a:off x="609600" y="3189221"/>
            <a:ext cx="3084843" cy="2858238"/>
          </a:xfrm>
          <a:prstGeom prst="rect">
            <a:avLst/>
          </a:prstGeom>
          <a:noFill/>
          <a:ln w="381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Lato" panose="020F0502020204030203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66A9374-588A-3BF4-C3CB-42998F384863}"/>
              </a:ext>
            </a:extLst>
          </p:cNvPr>
          <p:cNvSpPr/>
          <p:nvPr/>
        </p:nvSpPr>
        <p:spPr>
          <a:xfrm>
            <a:off x="8917867" y="3177205"/>
            <a:ext cx="2675715" cy="3075581"/>
          </a:xfrm>
          <a:prstGeom prst="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Lato" panose="020F0502020204030203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B46E122-502C-97D0-6D7B-323CA3834CBC}"/>
              </a:ext>
            </a:extLst>
          </p:cNvPr>
          <p:cNvSpPr/>
          <p:nvPr/>
        </p:nvSpPr>
        <p:spPr>
          <a:xfrm>
            <a:off x="1731173" y="3307383"/>
            <a:ext cx="1452442" cy="477079"/>
          </a:xfrm>
          <a:prstGeom prst="rect">
            <a:avLst/>
          </a:prstGeom>
          <a:solidFill>
            <a:srgbClr val="00B0F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Lato" panose="020F05020202040302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91B652C-9EC9-FF3D-920F-4AC1F28D6DEC}"/>
              </a:ext>
            </a:extLst>
          </p:cNvPr>
          <p:cNvSpPr/>
          <p:nvPr/>
        </p:nvSpPr>
        <p:spPr>
          <a:xfrm>
            <a:off x="10394758" y="3203057"/>
            <a:ext cx="390238" cy="159027"/>
          </a:xfrm>
          <a:prstGeom prst="rect">
            <a:avLst/>
          </a:prstGeom>
          <a:solidFill>
            <a:srgbClr val="00B0F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Lato" panose="020F0502020204030203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A48243C-7E65-4BFE-501B-18EB15D8F99E}"/>
              </a:ext>
            </a:extLst>
          </p:cNvPr>
          <p:cNvSpPr/>
          <p:nvPr/>
        </p:nvSpPr>
        <p:spPr>
          <a:xfrm>
            <a:off x="1731173" y="3951570"/>
            <a:ext cx="1452442" cy="477079"/>
          </a:xfrm>
          <a:prstGeom prst="rect">
            <a:avLst/>
          </a:prstGeom>
          <a:solidFill>
            <a:srgbClr val="00B05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Lato" panose="020F0502020204030203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FDD7124-0C7F-F91C-CE60-28341835ED19}"/>
              </a:ext>
            </a:extLst>
          </p:cNvPr>
          <p:cNvSpPr/>
          <p:nvPr/>
        </p:nvSpPr>
        <p:spPr>
          <a:xfrm>
            <a:off x="10394758" y="3949322"/>
            <a:ext cx="390238" cy="159027"/>
          </a:xfrm>
          <a:prstGeom prst="rect">
            <a:avLst/>
          </a:prstGeom>
          <a:solidFill>
            <a:srgbClr val="00B05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Lato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9FE313F-40B6-CADF-BCFF-F085A1917679}"/>
              </a:ext>
            </a:extLst>
          </p:cNvPr>
          <p:cNvSpPr/>
          <p:nvPr/>
        </p:nvSpPr>
        <p:spPr>
          <a:xfrm>
            <a:off x="1731173" y="4613848"/>
            <a:ext cx="1452442" cy="477079"/>
          </a:xfrm>
          <a:prstGeom prst="rect">
            <a:avLst/>
          </a:prstGeom>
          <a:solidFill>
            <a:srgbClr val="FFFF0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Lato" panose="020F0502020204030203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CCFEB1F-9E6A-43AF-FED0-76ADCD1E7D9E}"/>
              </a:ext>
            </a:extLst>
          </p:cNvPr>
          <p:cNvSpPr/>
          <p:nvPr/>
        </p:nvSpPr>
        <p:spPr>
          <a:xfrm>
            <a:off x="10394758" y="5438034"/>
            <a:ext cx="390238" cy="159027"/>
          </a:xfrm>
          <a:prstGeom prst="rect">
            <a:avLst/>
          </a:prstGeom>
          <a:solidFill>
            <a:srgbClr val="FFFF00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Lato" panose="020F0502020204030203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16AB49E-6218-617E-6414-6613A2151CB4}"/>
              </a:ext>
            </a:extLst>
          </p:cNvPr>
          <p:cNvSpPr/>
          <p:nvPr/>
        </p:nvSpPr>
        <p:spPr>
          <a:xfrm>
            <a:off x="1731173" y="5261338"/>
            <a:ext cx="1452442" cy="477079"/>
          </a:xfrm>
          <a:prstGeom prst="rect">
            <a:avLst/>
          </a:prstGeom>
          <a:solidFill>
            <a:schemeClr val="accent6">
              <a:lumMod val="60000"/>
              <a:lumOff val="40000"/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Lato" panose="020F0502020204030203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5FCAF67-CD25-6662-F88E-2AE88FC76DCE}"/>
              </a:ext>
            </a:extLst>
          </p:cNvPr>
          <p:cNvSpPr/>
          <p:nvPr/>
        </p:nvSpPr>
        <p:spPr>
          <a:xfrm>
            <a:off x="10394758" y="4510192"/>
            <a:ext cx="453638" cy="159027"/>
          </a:xfrm>
          <a:prstGeom prst="rect">
            <a:avLst/>
          </a:prstGeom>
          <a:solidFill>
            <a:schemeClr val="accent6">
              <a:lumMod val="60000"/>
              <a:lumOff val="40000"/>
              <a:alpha val="5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Lato" panose="020F0502020204030203" pitchFamily="34" charset="0"/>
            </a:endParaRPr>
          </a:p>
        </p:txBody>
      </p:sp>
      <p:sp>
        <p:nvSpPr>
          <p:cNvPr id="30" name="Right Triangle 29">
            <a:extLst>
              <a:ext uri="{FF2B5EF4-FFF2-40B4-BE49-F238E27FC236}">
                <a16:creationId xmlns:a16="http://schemas.microsoft.com/office/drawing/2014/main" id="{D9987B1D-480B-9C89-994A-371BD7C8D97F}"/>
              </a:ext>
            </a:extLst>
          </p:cNvPr>
          <p:cNvSpPr/>
          <p:nvPr/>
        </p:nvSpPr>
        <p:spPr>
          <a:xfrm>
            <a:off x="3694444" y="3177205"/>
            <a:ext cx="209560" cy="2870254"/>
          </a:xfrm>
          <a:custGeom>
            <a:avLst/>
            <a:gdLst>
              <a:gd name="connsiteX0" fmla="*/ 0 w 252423"/>
              <a:gd name="connsiteY0" fmla="*/ 2870254 h 2870254"/>
              <a:gd name="connsiteX1" fmla="*/ 0 w 252423"/>
              <a:gd name="connsiteY1" fmla="*/ 0 h 2870254"/>
              <a:gd name="connsiteX2" fmla="*/ 252423 w 252423"/>
              <a:gd name="connsiteY2" fmla="*/ 2870254 h 2870254"/>
              <a:gd name="connsiteX3" fmla="*/ 0 w 252423"/>
              <a:gd name="connsiteY3" fmla="*/ 2870254 h 2870254"/>
              <a:gd name="connsiteX0" fmla="*/ 0 w 200035"/>
              <a:gd name="connsiteY0" fmla="*/ 2870254 h 2870254"/>
              <a:gd name="connsiteX1" fmla="*/ 0 w 200035"/>
              <a:gd name="connsiteY1" fmla="*/ 0 h 2870254"/>
              <a:gd name="connsiteX2" fmla="*/ 200035 w 200035"/>
              <a:gd name="connsiteY2" fmla="*/ 1641529 h 2870254"/>
              <a:gd name="connsiteX3" fmla="*/ 0 w 200035"/>
              <a:gd name="connsiteY3" fmla="*/ 2870254 h 2870254"/>
              <a:gd name="connsiteX0" fmla="*/ 0 w 209560"/>
              <a:gd name="connsiteY0" fmla="*/ 2870254 h 2870254"/>
              <a:gd name="connsiteX1" fmla="*/ 0 w 209560"/>
              <a:gd name="connsiteY1" fmla="*/ 0 h 2870254"/>
              <a:gd name="connsiteX2" fmla="*/ 209560 w 209560"/>
              <a:gd name="connsiteY2" fmla="*/ 1451029 h 2870254"/>
              <a:gd name="connsiteX3" fmla="*/ 0 w 209560"/>
              <a:gd name="connsiteY3" fmla="*/ 2870254 h 2870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60" h="2870254">
                <a:moveTo>
                  <a:pt x="0" y="2870254"/>
                </a:moveTo>
                <a:lnTo>
                  <a:pt x="0" y="0"/>
                </a:lnTo>
                <a:lnTo>
                  <a:pt x="209560" y="1451029"/>
                </a:lnTo>
                <a:lnTo>
                  <a:pt x="0" y="287025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l"/>
            <a:endParaRPr lang="en-IN">
              <a:latin typeface="Lato" panose="020F0502020204030203" pitchFamily="34" charset="0"/>
            </a:endParaRPr>
          </a:p>
        </p:txBody>
      </p:sp>
      <p:sp>
        <p:nvSpPr>
          <p:cNvPr id="31" name="Right Triangle 29">
            <a:extLst>
              <a:ext uri="{FF2B5EF4-FFF2-40B4-BE49-F238E27FC236}">
                <a16:creationId xmlns:a16="http://schemas.microsoft.com/office/drawing/2014/main" id="{411CDC9E-98AC-EA3C-74E9-20889D45DC2E}"/>
              </a:ext>
            </a:extLst>
          </p:cNvPr>
          <p:cNvSpPr/>
          <p:nvPr/>
        </p:nvSpPr>
        <p:spPr>
          <a:xfrm flipH="1">
            <a:off x="8716949" y="3183631"/>
            <a:ext cx="194796" cy="3075581"/>
          </a:xfrm>
          <a:custGeom>
            <a:avLst/>
            <a:gdLst>
              <a:gd name="connsiteX0" fmla="*/ 0 w 252423"/>
              <a:gd name="connsiteY0" fmla="*/ 2870254 h 2870254"/>
              <a:gd name="connsiteX1" fmla="*/ 0 w 252423"/>
              <a:gd name="connsiteY1" fmla="*/ 0 h 2870254"/>
              <a:gd name="connsiteX2" fmla="*/ 252423 w 252423"/>
              <a:gd name="connsiteY2" fmla="*/ 2870254 h 2870254"/>
              <a:gd name="connsiteX3" fmla="*/ 0 w 252423"/>
              <a:gd name="connsiteY3" fmla="*/ 2870254 h 2870254"/>
              <a:gd name="connsiteX0" fmla="*/ 0 w 200035"/>
              <a:gd name="connsiteY0" fmla="*/ 2870254 h 2870254"/>
              <a:gd name="connsiteX1" fmla="*/ 0 w 200035"/>
              <a:gd name="connsiteY1" fmla="*/ 0 h 2870254"/>
              <a:gd name="connsiteX2" fmla="*/ 200035 w 200035"/>
              <a:gd name="connsiteY2" fmla="*/ 1641529 h 2870254"/>
              <a:gd name="connsiteX3" fmla="*/ 0 w 200035"/>
              <a:gd name="connsiteY3" fmla="*/ 2870254 h 2870254"/>
              <a:gd name="connsiteX0" fmla="*/ 0 w 209560"/>
              <a:gd name="connsiteY0" fmla="*/ 2870254 h 2870254"/>
              <a:gd name="connsiteX1" fmla="*/ 0 w 209560"/>
              <a:gd name="connsiteY1" fmla="*/ 0 h 2870254"/>
              <a:gd name="connsiteX2" fmla="*/ 209560 w 209560"/>
              <a:gd name="connsiteY2" fmla="*/ 1451029 h 2870254"/>
              <a:gd name="connsiteX3" fmla="*/ 0 w 209560"/>
              <a:gd name="connsiteY3" fmla="*/ 2870254 h 2870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60" h="2870254">
                <a:moveTo>
                  <a:pt x="0" y="2870254"/>
                </a:moveTo>
                <a:lnTo>
                  <a:pt x="0" y="0"/>
                </a:lnTo>
                <a:lnTo>
                  <a:pt x="209560" y="1451029"/>
                </a:lnTo>
                <a:lnTo>
                  <a:pt x="0" y="287025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l"/>
            <a:endParaRPr lang="en-IN">
              <a:latin typeface="Lato" panose="020F050202020403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369F8DD-8A06-8E00-D198-2097FB855681}"/>
              </a:ext>
            </a:extLst>
          </p:cNvPr>
          <p:cNvSpPr txBox="1"/>
          <p:nvPr/>
        </p:nvSpPr>
        <p:spPr>
          <a:xfrm>
            <a:off x="5507280" y="3708566"/>
            <a:ext cx="1596832" cy="656542"/>
          </a:xfrm>
          <a:prstGeom prst="rect">
            <a:avLst/>
          </a:prstGeom>
          <a:solidFill>
            <a:schemeClr val="bg1">
              <a:alpha val="72000"/>
            </a:schemeClr>
          </a:solidFill>
        </p:spPr>
        <p:txBody>
          <a:bodyPr vert="horz" wrap="square" lIns="91440" tIns="45720" rIns="91440" bIns="45720" rtlCol="0" anchor="ctr">
            <a:normAutofit fontScale="85000" lnSpcReduction="20000"/>
          </a:bodyPr>
          <a:lstStyle/>
          <a:p>
            <a:pPr algn="ctr"/>
            <a:r>
              <a:rPr lang="en-US" sz="1600" dirty="0">
                <a:solidFill>
                  <a:schemeClr val="tx2"/>
                </a:solidFill>
                <a:latin typeface="Lato" panose="020F0502020204030203" pitchFamily="34" charset="0"/>
              </a:rPr>
              <a:t>ST-IPm-8460</a:t>
            </a:r>
          </a:p>
          <a:p>
            <a:pPr algn="ctr"/>
            <a:r>
              <a:rPr lang="en-US" sz="1600" dirty="0">
                <a:solidFill>
                  <a:schemeClr val="tx2"/>
                </a:solidFill>
                <a:latin typeface="Lato" panose="020F0502020204030203" pitchFamily="34" charset="0"/>
              </a:rPr>
              <a:t>VT-mIPm-138-D</a:t>
            </a:r>
          </a:p>
          <a:p>
            <a:pPr algn="ctr"/>
            <a:r>
              <a:rPr lang="en-US" sz="1600" dirty="0">
                <a:solidFill>
                  <a:schemeClr val="tx2"/>
                </a:solidFill>
                <a:latin typeface="Lato" panose="020F0502020204030203" pitchFamily="34" charset="0"/>
              </a:rPr>
              <a:t>VT-mIPm-248-D</a:t>
            </a:r>
          </a:p>
        </p:txBody>
      </p:sp>
    </p:spTree>
    <p:extLst>
      <p:ext uri="{BB962C8B-B14F-4D97-AF65-F5344CB8AC3E}">
        <p14:creationId xmlns:p14="http://schemas.microsoft.com/office/powerpoint/2010/main" val="39879948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45833E-6 0 L 0.40547 -0.00324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273" y="-1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Graphic spid="14" grpId="0">
        <p:bldAsOne/>
      </p:bldGraphic>
      <p:bldGraphic spid="15" grpId="0">
        <p:bldAsOne/>
      </p:bldGraphic>
      <p:bldP spid="16" grpId="0" animBg="1"/>
      <p:bldP spid="17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96485D-C339-A72F-04FC-68D35783D3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 Kit and Red Lion Workben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C03DDA-BE7E-DE87-6547-A6812E9CAA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eparate Variable Database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51A1C34-D606-CBDA-BBF0-43A60B17C32F}"/>
              </a:ext>
            </a:extLst>
          </p:cNvPr>
          <p:cNvSpPr/>
          <p:nvPr/>
        </p:nvSpPr>
        <p:spPr>
          <a:xfrm>
            <a:off x="3245875" y="1933315"/>
            <a:ext cx="1931377" cy="1150816"/>
          </a:xfrm>
          <a:prstGeom prst="roundRect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chemeClr val="bg1"/>
                </a:solidFill>
                <a:latin typeface="Lato" panose="020F0502020204030203" pitchFamily="34" charset="0"/>
              </a:rPr>
              <a:t>Tool Kit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953BADD-6F3C-1342-69F1-27F57E12193E}"/>
              </a:ext>
            </a:extLst>
          </p:cNvPr>
          <p:cNvSpPr/>
          <p:nvPr/>
        </p:nvSpPr>
        <p:spPr>
          <a:xfrm>
            <a:off x="9316325" y="2073938"/>
            <a:ext cx="1931378" cy="1150816"/>
          </a:xfrm>
          <a:prstGeom prst="roundRect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chemeClr val="bg1"/>
                </a:solidFill>
                <a:latin typeface="Lato" panose="020F0502020204030203" pitchFamily="34" charset="0"/>
              </a:rPr>
              <a:t>RL Workbench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E557242-C90D-3267-7B55-45BD9AA505A0}"/>
              </a:ext>
            </a:extLst>
          </p:cNvPr>
          <p:cNvGrpSpPr/>
          <p:nvPr/>
        </p:nvGrpSpPr>
        <p:grpSpPr>
          <a:xfrm>
            <a:off x="5447928" y="4127305"/>
            <a:ext cx="3428409" cy="1859916"/>
            <a:chOff x="3756771" y="3823594"/>
            <a:chExt cx="5119566" cy="2637692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8D125CC0-6349-A835-E8A7-F86CCFF8E4CE}"/>
                </a:ext>
              </a:extLst>
            </p:cNvPr>
            <p:cNvSpPr/>
            <p:nvPr/>
          </p:nvSpPr>
          <p:spPr>
            <a:xfrm>
              <a:off x="3756771" y="3823594"/>
              <a:ext cx="5119566" cy="2637692"/>
            </a:xfrm>
            <a:prstGeom prst="roundRect">
              <a:avLst/>
            </a:prstGeom>
            <a:noFill/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000" dirty="0">
                  <a:solidFill>
                    <a:schemeClr val="tx2"/>
                  </a:solidFill>
                  <a:latin typeface="Lato" panose="020F0502020204030203" pitchFamily="34" charset="0"/>
                </a:rPr>
                <a:t>ST-IPm-8460</a:t>
              </a:r>
            </a:p>
            <a:p>
              <a:pPr algn="ctr"/>
              <a:r>
                <a:rPr lang="en-US" sz="1000" dirty="0">
                  <a:solidFill>
                    <a:schemeClr val="tx2"/>
                  </a:solidFill>
                  <a:latin typeface="Lato" panose="020F0502020204030203" pitchFamily="34" charset="0"/>
                </a:rPr>
                <a:t>VT-mIPm-138-D</a:t>
              </a:r>
            </a:p>
            <a:p>
              <a:pPr algn="ctr"/>
              <a:r>
                <a:rPr lang="en-US" sz="1000" dirty="0">
                  <a:solidFill>
                    <a:schemeClr val="tx2"/>
                  </a:solidFill>
                  <a:latin typeface="Lato" panose="020F0502020204030203" pitchFamily="34" charset="0"/>
                </a:rPr>
                <a:t>VT-mIPm-248-D</a:t>
              </a:r>
            </a:p>
          </p:txBody>
        </p:sp>
        <p:sp>
          <p:nvSpPr>
            <p:cNvPr id="9" name="Cylinder 8">
              <a:extLst>
                <a:ext uri="{FF2B5EF4-FFF2-40B4-BE49-F238E27FC236}">
                  <a16:creationId xmlns:a16="http://schemas.microsoft.com/office/drawing/2014/main" id="{9B47CD70-B4EA-7F21-AC3C-6864CAB30B8A}"/>
                </a:ext>
              </a:extLst>
            </p:cNvPr>
            <p:cNvSpPr/>
            <p:nvPr/>
          </p:nvSpPr>
          <p:spPr>
            <a:xfrm>
              <a:off x="6866884" y="4570618"/>
              <a:ext cx="1850065" cy="1786270"/>
            </a:xfrm>
            <a:prstGeom prst="can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Lato" panose="020F0502020204030203" pitchFamily="34" charset="0"/>
                </a:rPr>
                <a:t>Red Lion Runtime</a:t>
              </a:r>
            </a:p>
          </p:txBody>
        </p:sp>
        <p:sp>
          <p:nvSpPr>
            <p:cNvPr id="10" name="Cylinder 9">
              <a:extLst>
                <a:ext uri="{FF2B5EF4-FFF2-40B4-BE49-F238E27FC236}">
                  <a16:creationId xmlns:a16="http://schemas.microsoft.com/office/drawing/2014/main" id="{A5BAC8A2-DB7C-4ABD-C87D-D7FE9D60F801}"/>
                </a:ext>
              </a:extLst>
            </p:cNvPr>
            <p:cNvSpPr/>
            <p:nvPr/>
          </p:nvSpPr>
          <p:spPr>
            <a:xfrm>
              <a:off x="3976893" y="4611619"/>
              <a:ext cx="1850065" cy="1786270"/>
            </a:xfrm>
            <a:prstGeom prst="can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  <a:latin typeface="Lato" panose="020F0502020204030203" pitchFamily="34" charset="0"/>
                </a:rPr>
                <a:t>Tool Kit</a:t>
              </a:r>
            </a:p>
            <a:p>
              <a:pPr algn="ctr"/>
              <a:r>
                <a:rPr lang="en-US" sz="1400" dirty="0">
                  <a:solidFill>
                    <a:schemeClr val="bg1"/>
                  </a:solidFill>
                  <a:latin typeface="Lato" panose="020F0502020204030203" pitchFamily="34" charset="0"/>
                </a:rPr>
                <a:t>I/O Database</a:t>
              </a:r>
            </a:p>
          </p:txBody>
        </p:sp>
        <p:sp>
          <p:nvSpPr>
            <p:cNvPr id="11" name="Arrow: Left-Right 10">
              <a:extLst>
                <a:ext uri="{FF2B5EF4-FFF2-40B4-BE49-F238E27FC236}">
                  <a16:creationId xmlns:a16="http://schemas.microsoft.com/office/drawing/2014/main" id="{7640DBBE-23D0-63E9-E05F-FEF2AFF8B373}"/>
                </a:ext>
              </a:extLst>
            </p:cNvPr>
            <p:cNvSpPr/>
            <p:nvPr/>
          </p:nvSpPr>
          <p:spPr>
            <a:xfrm>
              <a:off x="5849366" y="5348181"/>
              <a:ext cx="955190" cy="543858"/>
            </a:xfrm>
            <a:prstGeom prst="leftRightArrow">
              <a:avLst/>
            </a:prstGeom>
            <a:solidFill>
              <a:schemeClr val="tx2"/>
            </a:solidFill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3A83997-AAFA-46FA-C698-89229C983472}"/>
              </a:ext>
            </a:extLst>
          </p:cNvPr>
          <p:cNvGrpSpPr/>
          <p:nvPr/>
        </p:nvGrpSpPr>
        <p:grpSpPr>
          <a:xfrm>
            <a:off x="3187804" y="4089984"/>
            <a:ext cx="1947945" cy="1897237"/>
            <a:chOff x="578145" y="3603048"/>
            <a:chExt cx="3116298" cy="2858238"/>
          </a:xfrm>
        </p:grpSpPr>
        <p:graphicFrame>
          <p:nvGraphicFramePr>
            <p:cNvPr id="13" name="Diagram 12">
              <a:extLst>
                <a:ext uri="{FF2B5EF4-FFF2-40B4-BE49-F238E27FC236}">
                  <a16:creationId xmlns:a16="http://schemas.microsoft.com/office/drawing/2014/main" id="{1E466221-3AEC-520C-6AC3-946ADF098532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420126957"/>
                </p:ext>
              </p:extLst>
            </p:nvPr>
          </p:nvGraphicFramePr>
          <p:xfrm>
            <a:off x="656779" y="3603048"/>
            <a:ext cx="2928971" cy="265321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8B4E2B4-61FB-57EE-58B2-562C38F7863D}"/>
                </a:ext>
              </a:extLst>
            </p:cNvPr>
            <p:cNvSpPr/>
            <p:nvPr/>
          </p:nvSpPr>
          <p:spPr>
            <a:xfrm>
              <a:off x="578145" y="3603048"/>
              <a:ext cx="3116298" cy="2858238"/>
            </a:xfrm>
            <a:prstGeom prst="rect">
              <a:avLst/>
            </a:prstGeom>
            <a:noFill/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7" name="Picture Placeholder 31" descr="A screenshot of a cell phone&#10;&#10;Description automatically generated">
            <a:extLst>
              <a:ext uri="{FF2B5EF4-FFF2-40B4-BE49-F238E27FC236}">
                <a16:creationId xmlns:a16="http://schemas.microsoft.com/office/drawing/2014/main" id="{840CFBCA-3358-6BE3-4506-F93377F420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0" r="5990"/>
          <a:stretch>
            <a:fillRect/>
          </a:stretch>
        </p:blipFill>
        <p:spPr>
          <a:xfrm>
            <a:off x="9152805" y="4125182"/>
            <a:ext cx="2429595" cy="165394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63CDC84D-5F10-930A-78E6-3F56C8658515}"/>
              </a:ext>
            </a:extLst>
          </p:cNvPr>
          <p:cNvSpPr txBox="1"/>
          <p:nvPr/>
        </p:nvSpPr>
        <p:spPr>
          <a:xfrm>
            <a:off x="9715500" y="5679444"/>
            <a:ext cx="1133028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63666A"/>
                </a:solidFill>
                <a:latin typeface="Lato" panose="020F0502020204030203" pitchFamily="34" charset="0"/>
              </a:rPr>
              <a:t>Program</a:t>
            </a:r>
          </a:p>
        </p:txBody>
      </p:sp>
      <p:pic>
        <p:nvPicPr>
          <p:cNvPr id="19" name="Picture Placeholder 31">
            <a:extLst>
              <a:ext uri="{FF2B5EF4-FFF2-40B4-BE49-F238E27FC236}">
                <a16:creationId xmlns:a16="http://schemas.microsoft.com/office/drawing/2014/main" id="{F647CA6C-1834-84D4-A84A-E9242E363F76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129"/>
          <a:stretch/>
        </p:blipFill>
        <p:spPr>
          <a:xfrm>
            <a:off x="831866" y="2636912"/>
            <a:ext cx="1967059" cy="843586"/>
          </a:xfrm>
          <a:prstGeom prst="rect">
            <a:avLst/>
          </a:prstGeom>
        </p:spPr>
      </p:pic>
      <p:pic>
        <p:nvPicPr>
          <p:cNvPr id="20" name="Picture Placeholder 31">
            <a:extLst>
              <a:ext uri="{FF2B5EF4-FFF2-40B4-BE49-F238E27FC236}">
                <a16:creationId xmlns:a16="http://schemas.microsoft.com/office/drawing/2014/main" id="{B206A79D-6E55-8329-56F6-D89E455F063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2188" y="3660779"/>
            <a:ext cx="2062809" cy="875854"/>
          </a:xfrm>
          <a:prstGeom prst="rect">
            <a:avLst/>
          </a:prstGeom>
        </p:spPr>
      </p:pic>
      <p:pic>
        <p:nvPicPr>
          <p:cNvPr id="21" name="Picture Placeholder 31">
            <a:extLst>
              <a:ext uri="{FF2B5EF4-FFF2-40B4-BE49-F238E27FC236}">
                <a16:creationId xmlns:a16="http://schemas.microsoft.com/office/drawing/2014/main" id="{6A1221A7-5A32-F42C-41D4-76AF071D219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3392" y="4947971"/>
            <a:ext cx="2171782" cy="92930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E19C1EF8-64C5-DCF4-BE29-7F868EE32D8B}"/>
              </a:ext>
            </a:extLst>
          </p:cNvPr>
          <p:cNvSpPr txBox="1"/>
          <p:nvPr/>
        </p:nvSpPr>
        <p:spPr>
          <a:xfrm>
            <a:off x="1278636" y="3265239"/>
            <a:ext cx="100094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63666A"/>
                </a:solidFill>
                <a:latin typeface="Lato" panose="020F0502020204030203" pitchFamily="34" charset="0"/>
              </a:rPr>
              <a:t>Datalog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F60C08-9839-597D-A859-FDB4BAA30F0E}"/>
              </a:ext>
            </a:extLst>
          </p:cNvPr>
          <p:cNvSpPr txBox="1"/>
          <p:nvPr/>
        </p:nvSpPr>
        <p:spPr>
          <a:xfrm>
            <a:off x="1139084" y="4489375"/>
            <a:ext cx="1388587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63666A"/>
                </a:solidFill>
                <a:latin typeface="Lato" panose="020F0502020204030203" pitchFamily="34" charset="0"/>
              </a:rPr>
              <a:t>I/O Transfer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A3C77AF-4FC0-9FDE-10D8-225CE80BC949}"/>
              </a:ext>
            </a:extLst>
          </p:cNvPr>
          <p:cNvSpPr txBox="1"/>
          <p:nvPr/>
        </p:nvSpPr>
        <p:spPr>
          <a:xfrm>
            <a:off x="1347377" y="5759718"/>
            <a:ext cx="971997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63666A"/>
                </a:solidFill>
                <a:latin typeface="Lato" panose="020F0502020204030203" pitchFamily="34" charset="0"/>
              </a:rPr>
              <a:t>SCADA</a:t>
            </a:r>
          </a:p>
        </p:txBody>
      </p:sp>
      <p:pic>
        <p:nvPicPr>
          <p:cNvPr id="25" name="Picture Placeholder 31">
            <a:extLst>
              <a:ext uri="{FF2B5EF4-FFF2-40B4-BE49-F238E27FC236}">
                <a16:creationId xmlns:a16="http://schemas.microsoft.com/office/drawing/2014/main" id="{6EF1C697-9CDA-4E8F-FA8E-43543FDE1CD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72" b="14172"/>
          <a:stretch/>
        </p:blipFill>
        <p:spPr>
          <a:xfrm>
            <a:off x="802188" y="1449653"/>
            <a:ext cx="2062809" cy="843586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39D9E5F-0F62-1BF1-AB5B-B5D03A312FB2}"/>
              </a:ext>
            </a:extLst>
          </p:cNvPr>
          <p:cNvSpPr txBox="1"/>
          <p:nvPr/>
        </p:nvSpPr>
        <p:spPr>
          <a:xfrm>
            <a:off x="1236637" y="2257127"/>
            <a:ext cx="1193478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63666A"/>
                </a:solidFill>
                <a:latin typeface="Lato" panose="020F0502020204030203" pitchFamily="34" charset="0"/>
              </a:rPr>
              <a:t>Redundancy</a:t>
            </a:r>
          </a:p>
        </p:txBody>
      </p:sp>
      <p:sp>
        <p:nvSpPr>
          <p:cNvPr id="4" name="Right Triangle 29">
            <a:extLst>
              <a:ext uri="{FF2B5EF4-FFF2-40B4-BE49-F238E27FC236}">
                <a16:creationId xmlns:a16="http://schemas.microsoft.com/office/drawing/2014/main" id="{92BB9361-6AA3-C7D0-8307-37F24A9C05E1}"/>
              </a:ext>
            </a:extLst>
          </p:cNvPr>
          <p:cNvSpPr/>
          <p:nvPr/>
        </p:nvSpPr>
        <p:spPr>
          <a:xfrm>
            <a:off x="5155129" y="4078184"/>
            <a:ext cx="209560" cy="1920836"/>
          </a:xfrm>
          <a:custGeom>
            <a:avLst/>
            <a:gdLst>
              <a:gd name="connsiteX0" fmla="*/ 0 w 252423"/>
              <a:gd name="connsiteY0" fmla="*/ 2870254 h 2870254"/>
              <a:gd name="connsiteX1" fmla="*/ 0 w 252423"/>
              <a:gd name="connsiteY1" fmla="*/ 0 h 2870254"/>
              <a:gd name="connsiteX2" fmla="*/ 252423 w 252423"/>
              <a:gd name="connsiteY2" fmla="*/ 2870254 h 2870254"/>
              <a:gd name="connsiteX3" fmla="*/ 0 w 252423"/>
              <a:gd name="connsiteY3" fmla="*/ 2870254 h 2870254"/>
              <a:gd name="connsiteX0" fmla="*/ 0 w 200035"/>
              <a:gd name="connsiteY0" fmla="*/ 2870254 h 2870254"/>
              <a:gd name="connsiteX1" fmla="*/ 0 w 200035"/>
              <a:gd name="connsiteY1" fmla="*/ 0 h 2870254"/>
              <a:gd name="connsiteX2" fmla="*/ 200035 w 200035"/>
              <a:gd name="connsiteY2" fmla="*/ 1641529 h 2870254"/>
              <a:gd name="connsiteX3" fmla="*/ 0 w 200035"/>
              <a:gd name="connsiteY3" fmla="*/ 2870254 h 2870254"/>
              <a:gd name="connsiteX0" fmla="*/ 0 w 209560"/>
              <a:gd name="connsiteY0" fmla="*/ 2870254 h 2870254"/>
              <a:gd name="connsiteX1" fmla="*/ 0 w 209560"/>
              <a:gd name="connsiteY1" fmla="*/ 0 h 2870254"/>
              <a:gd name="connsiteX2" fmla="*/ 209560 w 209560"/>
              <a:gd name="connsiteY2" fmla="*/ 1451029 h 2870254"/>
              <a:gd name="connsiteX3" fmla="*/ 0 w 209560"/>
              <a:gd name="connsiteY3" fmla="*/ 2870254 h 2870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60" h="2870254">
                <a:moveTo>
                  <a:pt x="0" y="2870254"/>
                </a:moveTo>
                <a:lnTo>
                  <a:pt x="0" y="0"/>
                </a:lnTo>
                <a:lnTo>
                  <a:pt x="209560" y="1451029"/>
                </a:lnTo>
                <a:lnTo>
                  <a:pt x="0" y="2870254"/>
                </a:lnTo>
                <a:close/>
              </a:path>
            </a:pathLst>
          </a:custGeom>
          <a:solidFill>
            <a:schemeClr val="tx2"/>
          </a:solidFill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l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707713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5C11912-AE62-A9AF-5685-444FB53B13EB}"/>
              </a:ext>
            </a:extLst>
          </p:cNvPr>
          <p:cNvSpPr/>
          <p:nvPr/>
        </p:nvSpPr>
        <p:spPr>
          <a:xfrm>
            <a:off x="5943777" y="3143942"/>
            <a:ext cx="2240121" cy="3028257"/>
          </a:xfrm>
          <a:prstGeom prst="rect">
            <a:avLst/>
          </a:prstGeom>
          <a:solidFill>
            <a:srgbClr val="FFFF00">
              <a:alpha val="40000"/>
            </a:srgbClr>
          </a:solidFill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380F40-AC67-F9A6-79B7-B4B6DFB3FD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 Lion Workben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D991CA-1089-2FA9-87CE-129EE6CE84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One Variable Database</a:t>
            </a:r>
          </a:p>
        </p:txBody>
      </p:sp>
      <p:sp>
        <p:nvSpPr>
          <p:cNvPr id="5" name="Rectangle: Rounded Corners 5">
            <a:extLst>
              <a:ext uri="{FF2B5EF4-FFF2-40B4-BE49-F238E27FC236}">
                <a16:creationId xmlns:a16="http://schemas.microsoft.com/office/drawing/2014/main" id="{A65F8D78-57A5-077F-8659-B172FDD147D0}"/>
              </a:ext>
            </a:extLst>
          </p:cNvPr>
          <p:cNvSpPr/>
          <p:nvPr/>
        </p:nvSpPr>
        <p:spPr>
          <a:xfrm>
            <a:off x="835799" y="1703108"/>
            <a:ext cx="1936645" cy="1158024"/>
          </a:xfrm>
          <a:custGeom>
            <a:avLst/>
            <a:gdLst>
              <a:gd name="connsiteX0" fmla="*/ 0 w 1931377"/>
              <a:gd name="connsiteY0" fmla="*/ 191807 h 1150816"/>
              <a:gd name="connsiteX1" fmla="*/ 191807 w 1931377"/>
              <a:gd name="connsiteY1" fmla="*/ 0 h 1150816"/>
              <a:gd name="connsiteX2" fmla="*/ 1739570 w 1931377"/>
              <a:gd name="connsiteY2" fmla="*/ 0 h 1150816"/>
              <a:gd name="connsiteX3" fmla="*/ 1931377 w 1931377"/>
              <a:gd name="connsiteY3" fmla="*/ 191807 h 1150816"/>
              <a:gd name="connsiteX4" fmla="*/ 1931377 w 1931377"/>
              <a:gd name="connsiteY4" fmla="*/ 959009 h 1150816"/>
              <a:gd name="connsiteX5" fmla="*/ 1739570 w 1931377"/>
              <a:gd name="connsiteY5" fmla="*/ 1150816 h 1150816"/>
              <a:gd name="connsiteX6" fmla="*/ 191807 w 1931377"/>
              <a:gd name="connsiteY6" fmla="*/ 1150816 h 1150816"/>
              <a:gd name="connsiteX7" fmla="*/ 0 w 1931377"/>
              <a:gd name="connsiteY7" fmla="*/ 959009 h 1150816"/>
              <a:gd name="connsiteX8" fmla="*/ 0 w 1931377"/>
              <a:gd name="connsiteY8" fmla="*/ 191807 h 1150816"/>
              <a:gd name="connsiteX0" fmla="*/ 0 w 1935603"/>
              <a:gd name="connsiteY0" fmla="*/ 191807 h 1150816"/>
              <a:gd name="connsiteX1" fmla="*/ 191807 w 1935603"/>
              <a:gd name="connsiteY1" fmla="*/ 0 h 1150816"/>
              <a:gd name="connsiteX2" fmla="*/ 1856448 w 1935603"/>
              <a:gd name="connsiteY2" fmla="*/ 13751 h 1150816"/>
              <a:gd name="connsiteX3" fmla="*/ 1931377 w 1935603"/>
              <a:gd name="connsiteY3" fmla="*/ 191807 h 1150816"/>
              <a:gd name="connsiteX4" fmla="*/ 1931377 w 1935603"/>
              <a:gd name="connsiteY4" fmla="*/ 959009 h 1150816"/>
              <a:gd name="connsiteX5" fmla="*/ 1739570 w 1935603"/>
              <a:gd name="connsiteY5" fmla="*/ 1150816 h 1150816"/>
              <a:gd name="connsiteX6" fmla="*/ 191807 w 1935603"/>
              <a:gd name="connsiteY6" fmla="*/ 1150816 h 1150816"/>
              <a:gd name="connsiteX7" fmla="*/ 0 w 1935603"/>
              <a:gd name="connsiteY7" fmla="*/ 959009 h 1150816"/>
              <a:gd name="connsiteX8" fmla="*/ 0 w 1935603"/>
              <a:gd name="connsiteY8" fmla="*/ 191807 h 1150816"/>
              <a:gd name="connsiteX0" fmla="*/ 6585 w 1942188"/>
              <a:gd name="connsiteY0" fmla="*/ 205558 h 1164567"/>
              <a:gd name="connsiteX1" fmla="*/ 74639 w 1942188"/>
              <a:gd name="connsiteY1" fmla="*/ 0 h 1164567"/>
              <a:gd name="connsiteX2" fmla="*/ 1863033 w 1942188"/>
              <a:gd name="connsiteY2" fmla="*/ 27502 h 1164567"/>
              <a:gd name="connsiteX3" fmla="*/ 1937962 w 1942188"/>
              <a:gd name="connsiteY3" fmla="*/ 205558 h 1164567"/>
              <a:gd name="connsiteX4" fmla="*/ 1937962 w 1942188"/>
              <a:gd name="connsiteY4" fmla="*/ 972760 h 1164567"/>
              <a:gd name="connsiteX5" fmla="*/ 1746155 w 1942188"/>
              <a:gd name="connsiteY5" fmla="*/ 1164567 h 1164567"/>
              <a:gd name="connsiteX6" fmla="*/ 198392 w 1942188"/>
              <a:gd name="connsiteY6" fmla="*/ 1164567 h 1164567"/>
              <a:gd name="connsiteX7" fmla="*/ 6585 w 1942188"/>
              <a:gd name="connsiteY7" fmla="*/ 972760 h 1164567"/>
              <a:gd name="connsiteX8" fmla="*/ 6585 w 1942188"/>
              <a:gd name="connsiteY8" fmla="*/ 205558 h 1164567"/>
              <a:gd name="connsiteX0" fmla="*/ 6585 w 1942188"/>
              <a:gd name="connsiteY0" fmla="*/ 205558 h 1164567"/>
              <a:gd name="connsiteX1" fmla="*/ 74639 w 1942188"/>
              <a:gd name="connsiteY1" fmla="*/ 0 h 1164567"/>
              <a:gd name="connsiteX2" fmla="*/ 1863033 w 1942188"/>
              <a:gd name="connsiteY2" fmla="*/ 27502 h 1164567"/>
              <a:gd name="connsiteX3" fmla="*/ 1937962 w 1942188"/>
              <a:gd name="connsiteY3" fmla="*/ 205558 h 1164567"/>
              <a:gd name="connsiteX4" fmla="*/ 1931086 w 1942188"/>
              <a:gd name="connsiteY4" fmla="*/ 635875 h 1164567"/>
              <a:gd name="connsiteX5" fmla="*/ 1746155 w 1942188"/>
              <a:gd name="connsiteY5" fmla="*/ 1164567 h 1164567"/>
              <a:gd name="connsiteX6" fmla="*/ 198392 w 1942188"/>
              <a:gd name="connsiteY6" fmla="*/ 1164567 h 1164567"/>
              <a:gd name="connsiteX7" fmla="*/ 6585 w 1942188"/>
              <a:gd name="connsiteY7" fmla="*/ 972760 h 1164567"/>
              <a:gd name="connsiteX8" fmla="*/ 6585 w 1942188"/>
              <a:gd name="connsiteY8" fmla="*/ 205558 h 1164567"/>
              <a:gd name="connsiteX0" fmla="*/ 6585 w 1942188"/>
              <a:gd name="connsiteY0" fmla="*/ 205558 h 1164567"/>
              <a:gd name="connsiteX1" fmla="*/ 74639 w 1942188"/>
              <a:gd name="connsiteY1" fmla="*/ 0 h 1164567"/>
              <a:gd name="connsiteX2" fmla="*/ 1863033 w 1942188"/>
              <a:gd name="connsiteY2" fmla="*/ 27502 h 1164567"/>
              <a:gd name="connsiteX3" fmla="*/ 1937962 w 1942188"/>
              <a:gd name="connsiteY3" fmla="*/ 205558 h 1164567"/>
              <a:gd name="connsiteX4" fmla="*/ 1931086 w 1942188"/>
              <a:gd name="connsiteY4" fmla="*/ 635875 h 1164567"/>
              <a:gd name="connsiteX5" fmla="*/ 1732405 w 1942188"/>
              <a:gd name="connsiteY5" fmla="*/ 758931 h 1164567"/>
              <a:gd name="connsiteX6" fmla="*/ 198392 w 1942188"/>
              <a:gd name="connsiteY6" fmla="*/ 1164567 h 1164567"/>
              <a:gd name="connsiteX7" fmla="*/ 6585 w 1942188"/>
              <a:gd name="connsiteY7" fmla="*/ 972760 h 1164567"/>
              <a:gd name="connsiteX8" fmla="*/ 6585 w 1942188"/>
              <a:gd name="connsiteY8" fmla="*/ 205558 h 1164567"/>
              <a:gd name="connsiteX0" fmla="*/ 6585 w 1942188"/>
              <a:gd name="connsiteY0" fmla="*/ 205558 h 1164567"/>
              <a:gd name="connsiteX1" fmla="*/ 74639 w 1942188"/>
              <a:gd name="connsiteY1" fmla="*/ 0 h 1164567"/>
              <a:gd name="connsiteX2" fmla="*/ 1863033 w 1942188"/>
              <a:gd name="connsiteY2" fmla="*/ 27502 h 1164567"/>
              <a:gd name="connsiteX3" fmla="*/ 1937962 w 1942188"/>
              <a:gd name="connsiteY3" fmla="*/ 205558 h 1164567"/>
              <a:gd name="connsiteX4" fmla="*/ 1931086 w 1942188"/>
              <a:gd name="connsiteY4" fmla="*/ 635875 h 1164567"/>
              <a:gd name="connsiteX5" fmla="*/ 1732405 w 1942188"/>
              <a:gd name="connsiteY5" fmla="*/ 758931 h 1164567"/>
              <a:gd name="connsiteX6" fmla="*/ 198392 w 1942188"/>
              <a:gd name="connsiteY6" fmla="*/ 1164567 h 1164567"/>
              <a:gd name="connsiteX7" fmla="*/ 6585 w 1942188"/>
              <a:gd name="connsiteY7" fmla="*/ 972760 h 1164567"/>
              <a:gd name="connsiteX8" fmla="*/ 6585 w 1942188"/>
              <a:gd name="connsiteY8" fmla="*/ 205558 h 1164567"/>
              <a:gd name="connsiteX0" fmla="*/ 6585 w 1942188"/>
              <a:gd name="connsiteY0" fmla="*/ 205558 h 1157692"/>
              <a:gd name="connsiteX1" fmla="*/ 74639 w 1942188"/>
              <a:gd name="connsiteY1" fmla="*/ 0 h 1157692"/>
              <a:gd name="connsiteX2" fmla="*/ 1863033 w 1942188"/>
              <a:gd name="connsiteY2" fmla="*/ 27502 h 1157692"/>
              <a:gd name="connsiteX3" fmla="*/ 1937962 w 1942188"/>
              <a:gd name="connsiteY3" fmla="*/ 205558 h 1157692"/>
              <a:gd name="connsiteX4" fmla="*/ 1931086 w 1942188"/>
              <a:gd name="connsiteY4" fmla="*/ 635875 h 1157692"/>
              <a:gd name="connsiteX5" fmla="*/ 1732405 w 1942188"/>
              <a:gd name="connsiteY5" fmla="*/ 758931 h 1157692"/>
              <a:gd name="connsiteX6" fmla="*/ 308395 w 1942188"/>
              <a:gd name="connsiteY6" fmla="*/ 1157692 h 1157692"/>
              <a:gd name="connsiteX7" fmla="*/ 6585 w 1942188"/>
              <a:gd name="connsiteY7" fmla="*/ 972760 h 1157692"/>
              <a:gd name="connsiteX8" fmla="*/ 6585 w 1942188"/>
              <a:gd name="connsiteY8" fmla="*/ 205558 h 1157692"/>
              <a:gd name="connsiteX0" fmla="*/ 6585 w 1942188"/>
              <a:gd name="connsiteY0" fmla="*/ 205558 h 1157692"/>
              <a:gd name="connsiteX1" fmla="*/ 74639 w 1942188"/>
              <a:gd name="connsiteY1" fmla="*/ 0 h 1157692"/>
              <a:gd name="connsiteX2" fmla="*/ 1863033 w 1942188"/>
              <a:gd name="connsiteY2" fmla="*/ 27502 h 1157692"/>
              <a:gd name="connsiteX3" fmla="*/ 1937962 w 1942188"/>
              <a:gd name="connsiteY3" fmla="*/ 205558 h 1157692"/>
              <a:gd name="connsiteX4" fmla="*/ 1931086 w 1942188"/>
              <a:gd name="connsiteY4" fmla="*/ 787129 h 1157692"/>
              <a:gd name="connsiteX5" fmla="*/ 1732405 w 1942188"/>
              <a:gd name="connsiteY5" fmla="*/ 758931 h 1157692"/>
              <a:gd name="connsiteX6" fmla="*/ 308395 w 1942188"/>
              <a:gd name="connsiteY6" fmla="*/ 1157692 h 1157692"/>
              <a:gd name="connsiteX7" fmla="*/ 6585 w 1942188"/>
              <a:gd name="connsiteY7" fmla="*/ 972760 h 1157692"/>
              <a:gd name="connsiteX8" fmla="*/ 6585 w 1942188"/>
              <a:gd name="connsiteY8" fmla="*/ 205558 h 1157692"/>
              <a:gd name="connsiteX0" fmla="*/ 6585 w 1942188"/>
              <a:gd name="connsiteY0" fmla="*/ 205558 h 1157692"/>
              <a:gd name="connsiteX1" fmla="*/ 74639 w 1942188"/>
              <a:gd name="connsiteY1" fmla="*/ 0 h 1157692"/>
              <a:gd name="connsiteX2" fmla="*/ 1863033 w 1942188"/>
              <a:gd name="connsiteY2" fmla="*/ 27502 h 1157692"/>
              <a:gd name="connsiteX3" fmla="*/ 1937962 w 1942188"/>
              <a:gd name="connsiteY3" fmla="*/ 205558 h 1157692"/>
              <a:gd name="connsiteX4" fmla="*/ 1931086 w 1942188"/>
              <a:gd name="connsiteY4" fmla="*/ 787129 h 1157692"/>
              <a:gd name="connsiteX5" fmla="*/ 1739280 w 1942188"/>
              <a:gd name="connsiteY5" fmla="*/ 855184 h 1157692"/>
              <a:gd name="connsiteX6" fmla="*/ 308395 w 1942188"/>
              <a:gd name="connsiteY6" fmla="*/ 1157692 h 1157692"/>
              <a:gd name="connsiteX7" fmla="*/ 6585 w 1942188"/>
              <a:gd name="connsiteY7" fmla="*/ 972760 h 1157692"/>
              <a:gd name="connsiteX8" fmla="*/ 6585 w 1942188"/>
              <a:gd name="connsiteY8" fmla="*/ 205558 h 1157692"/>
              <a:gd name="connsiteX0" fmla="*/ 1042 w 1936645"/>
              <a:gd name="connsiteY0" fmla="*/ 205558 h 1157692"/>
              <a:gd name="connsiteX1" fmla="*/ 89721 w 1936645"/>
              <a:gd name="connsiteY1" fmla="*/ 0 h 1157692"/>
              <a:gd name="connsiteX2" fmla="*/ 1857490 w 1936645"/>
              <a:gd name="connsiteY2" fmla="*/ 27502 h 1157692"/>
              <a:gd name="connsiteX3" fmla="*/ 1932419 w 1936645"/>
              <a:gd name="connsiteY3" fmla="*/ 205558 h 1157692"/>
              <a:gd name="connsiteX4" fmla="*/ 1925543 w 1936645"/>
              <a:gd name="connsiteY4" fmla="*/ 787129 h 1157692"/>
              <a:gd name="connsiteX5" fmla="*/ 1733737 w 1936645"/>
              <a:gd name="connsiteY5" fmla="*/ 855184 h 1157692"/>
              <a:gd name="connsiteX6" fmla="*/ 302852 w 1936645"/>
              <a:gd name="connsiteY6" fmla="*/ 1157692 h 1157692"/>
              <a:gd name="connsiteX7" fmla="*/ 1042 w 1936645"/>
              <a:gd name="connsiteY7" fmla="*/ 972760 h 1157692"/>
              <a:gd name="connsiteX8" fmla="*/ 1042 w 1936645"/>
              <a:gd name="connsiteY8" fmla="*/ 205558 h 1157692"/>
              <a:gd name="connsiteX0" fmla="*/ 1042 w 1936645"/>
              <a:gd name="connsiteY0" fmla="*/ 205558 h 1157692"/>
              <a:gd name="connsiteX1" fmla="*/ 89721 w 1936645"/>
              <a:gd name="connsiteY1" fmla="*/ 0 h 1157692"/>
              <a:gd name="connsiteX2" fmla="*/ 1857490 w 1936645"/>
              <a:gd name="connsiteY2" fmla="*/ 27502 h 1157692"/>
              <a:gd name="connsiteX3" fmla="*/ 1932419 w 1936645"/>
              <a:gd name="connsiteY3" fmla="*/ 205558 h 1157692"/>
              <a:gd name="connsiteX4" fmla="*/ 1925543 w 1936645"/>
              <a:gd name="connsiteY4" fmla="*/ 787129 h 1157692"/>
              <a:gd name="connsiteX5" fmla="*/ 1733737 w 1936645"/>
              <a:gd name="connsiteY5" fmla="*/ 855184 h 1157692"/>
              <a:gd name="connsiteX6" fmla="*/ 302852 w 1936645"/>
              <a:gd name="connsiteY6" fmla="*/ 1157692 h 1157692"/>
              <a:gd name="connsiteX7" fmla="*/ 1042 w 1936645"/>
              <a:gd name="connsiteY7" fmla="*/ 972760 h 1157692"/>
              <a:gd name="connsiteX8" fmla="*/ 1042 w 1936645"/>
              <a:gd name="connsiteY8" fmla="*/ 205558 h 1157692"/>
              <a:gd name="connsiteX0" fmla="*/ 1042 w 1936645"/>
              <a:gd name="connsiteY0" fmla="*/ 205558 h 1158024"/>
              <a:gd name="connsiteX1" fmla="*/ 89721 w 1936645"/>
              <a:gd name="connsiteY1" fmla="*/ 0 h 1158024"/>
              <a:gd name="connsiteX2" fmla="*/ 1857490 w 1936645"/>
              <a:gd name="connsiteY2" fmla="*/ 27502 h 1158024"/>
              <a:gd name="connsiteX3" fmla="*/ 1932419 w 1936645"/>
              <a:gd name="connsiteY3" fmla="*/ 205558 h 1158024"/>
              <a:gd name="connsiteX4" fmla="*/ 1925543 w 1936645"/>
              <a:gd name="connsiteY4" fmla="*/ 787129 h 1158024"/>
              <a:gd name="connsiteX5" fmla="*/ 1733737 w 1936645"/>
              <a:gd name="connsiteY5" fmla="*/ 855184 h 1158024"/>
              <a:gd name="connsiteX6" fmla="*/ 302852 w 1936645"/>
              <a:gd name="connsiteY6" fmla="*/ 1157692 h 1158024"/>
              <a:gd name="connsiteX7" fmla="*/ 1042 w 1936645"/>
              <a:gd name="connsiteY7" fmla="*/ 972760 h 1158024"/>
              <a:gd name="connsiteX8" fmla="*/ 1042 w 1936645"/>
              <a:gd name="connsiteY8" fmla="*/ 205558 h 1158024"/>
              <a:gd name="connsiteX0" fmla="*/ 1042 w 1936645"/>
              <a:gd name="connsiteY0" fmla="*/ 205558 h 1158024"/>
              <a:gd name="connsiteX1" fmla="*/ 89721 w 1936645"/>
              <a:gd name="connsiteY1" fmla="*/ 0 h 1158024"/>
              <a:gd name="connsiteX2" fmla="*/ 1857490 w 1936645"/>
              <a:gd name="connsiteY2" fmla="*/ 27502 h 1158024"/>
              <a:gd name="connsiteX3" fmla="*/ 1932419 w 1936645"/>
              <a:gd name="connsiteY3" fmla="*/ 205558 h 1158024"/>
              <a:gd name="connsiteX4" fmla="*/ 1925543 w 1936645"/>
              <a:gd name="connsiteY4" fmla="*/ 787129 h 1158024"/>
              <a:gd name="connsiteX5" fmla="*/ 1733737 w 1936645"/>
              <a:gd name="connsiteY5" fmla="*/ 855184 h 1158024"/>
              <a:gd name="connsiteX6" fmla="*/ 302852 w 1936645"/>
              <a:gd name="connsiteY6" fmla="*/ 1157692 h 1158024"/>
              <a:gd name="connsiteX7" fmla="*/ 1042 w 1936645"/>
              <a:gd name="connsiteY7" fmla="*/ 972760 h 1158024"/>
              <a:gd name="connsiteX8" fmla="*/ 1042 w 1936645"/>
              <a:gd name="connsiteY8" fmla="*/ 205558 h 1158024"/>
              <a:gd name="connsiteX0" fmla="*/ 1042 w 1936645"/>
              <a:gd name="connsiteY0" fmla="*/ 205558 h 1158024"/>
              <a:gd name="connsiteX1" fmla="*/ 89721 w 1936645"/>
              <a:gd name="connsiteY1" fmla="*/ 0 h 1158024"/>
              <a:gd name="connsiteX2" fmla="*/ 1857490 w 1936645"/>
              <a:gd name="connsiteY2" fmla="*/ 27502 h 1158024"/>
              <a:gd name="connsiteX3" fmla="*/ 1932419 w 1936645"/>
              <a:gd name="connsiteY3" fmla="*/ 205558 h 1158024"/>
              <a:gd name="connsiteX4" fmla="*/ 1925543 w 1936645"/>
              <a:gd name="connsiteY4" fmla="*/ 787129 h 1158024"/>
              <a:gd name="connsiteX5" fmla="*/ 1695637 w 1936645"/>
              <a:gd name="connsiteY5" fmla="*/ 855184 h 1158024"/>
              <a:gd name="connsiteX6" fmla="*/ 302852 w 1936645"/>
              <a:gd name="connsiteY6" fmla="*/ 1157692 h 1158024"/>
              <a:gd name="connsiteX7" fmla="*/ 1042 w 1936645"/>
              <a:gd name="connsiteY7" fmla="*/ 972760 h 1158024"/>
              <a:gd name="connsiteX8" fmla="*/ 1042 w 1936645"/>
              <a:gd name="connsiteY8" fmla="*/ 205558 h 1158024"/>
              <a:gd name="connsiteX0" fmla="*/ 1042 w 1936645"/>
              <a:gd name="connsiteY0" fmla="*/ 205558 h 1158024"/>
              <a:gd name="connsiteX1" fmla="*/ 89721 w 1936645"/>
              <a:gd name="connsiteY1" fmla="*/ 0 h 1158024"/>
              <a:gd name="connsiteX2" fmla="*/ 1857490 w 1936645"/>
              <a:gd name="connsiteY2" fmla="*/ 27502 h 1158024"/>
              <a:gd name="connsiteX3" fmla="*/ 1932419 w 1936645"/>
              <a:gd name="connsiteY3" fmla="*/ 205558 h 1158024"/>
              <a:gd name="connsiteX4" fmla="*/ 1925543 w 1936645"/>
              <a:gd name="connsiteY4" fmla="*/ 787129 h 1158024"/>
              <a:gd name="connsiteX5" fmla="*/ 1695637 w 1936645"/>
              <a:gd name="connsiteY5" fmla="*/ 855184 h 1158024"/>
              <a:gd name="connsiteX6" fmla="*/ 302852 w 1936645"/>
              <a:gd name="connsiteY6" fmla="*/ 1157692 h 1158024"/>
              <a:gd name="connsiteX7" fmla="*/ 1042 w 1936645"/>
              <a:gd name="connsiteY7" fmla="*/ 972760 h 1158024"/>
              <a:gd name="connsiteX8" fmla="*/ 1042 w 1936645"/>
              <a:gd name="connsiteY8" fmla="*/ 205558 h 1158024"/>
              <a:gd name="connsiteX0" fmla="*/ 1042 w 1936645"/>
              <a:gd name="connsiteY0" fmla="*/ 205558 h 1158024"/>
              <a:gd name="connsiteX1" fmla="*/ 89721 w 1936645"/>
              <a:gd name="connsiteY1" fmla="*/ 0 h 1158024"/>
              <a:gd name="connsiteX2" fmla="*/ 1857490 w 1936645"/>
              <a:gd name="connsiteY2" fmla="*/ 27502 h 1158024"/>
              <a:gd name="connsiteX3" fmla="*/ 1932419 w 1936645"/>
              <a:gd name="connsiteY3" fmla="*/ 205558 h 1158024"/>
              <a:gd name="connsiteX4" fmla="*/ 1925543 w 1936645"/>
              <a:gd name="connsiteY4" fmla="*/ 787129 h 1158024"/>
              <a:gd name="connsiteX5" fmla="*/ 1695637 w 1936645"/>
              <a:gd name="connsiteY5" fmla="*/ 855184 h 1158024"/>
              <a:gd name="connsiteX6" fmla="*/ 302852 w 1936645"/>
              <a:gd name="connsiteY6" fmla="*/ 1157692 h 1158024"/>
              <a:gd name="connsiteX7" fmla="*/ 1042 w 1936645"/>
              <a:gd name="connsiteY7" fmla="*/ 972760 h 1158024"/>
              <a:gd name="connsiteX8" fmla="*/ 1042 w 1936645"/>
              <a:gd name="connsiteY8" fmla="*/ 205558 h 1158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36645" h="1158024">
                <a:moveTo>
                  <a:pt x="1042" y="205558"/>
                </a:moveTo>
                <a:cubicBezTo>
                  <a:pt x="1042" y="99626"/>
                  <a:pt x="-16211" y="0"/>
                  <a:pt x="89721" y="0"/>
                </a:cubicBezTo>
                <a:lnTo>
                  <a:pt x="1857490" y="27502"/>
                </a:lnTo>
                <a:cubicBezTo>
                  <a:pt x="1963422" y="27502"/>
                  <a:pt x="1932419" y="99626"/>
                  <a:pt x="1932419" y="205558"/>
                </a:cubicBezTo>
                <a:lnTo>
                  <a:pt x="1925543" y="787129"/>
                </a:lnTo>
                <a:cubicBezTo>
                  <a:pt x="1925543" y="893061"/>
                  <a:pt x="1801568" y="854562"/>
                  <a:pt x="1695637" y="855184"/>
                </a:cubicBezTo>
                <a:cubicBezTo>
                  <a:pt x="280403" y="863491"/>
                  <a:pt x="820540" y="1155830"/>
                  <a:pt x="302852" y="1157692"/>
                </a:cubicBezTo>
                <a:cubicBezTo>
                  <a:pt x="117545" y="1164042"/>
                  <a:pt x="1042" y="1078692"/>
                  <a:pt x="1042" y="972760"/>
                </a:cubicBezTo>
                <a:lnTo>
                  <a:pt x="1042" y="205558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Tool Kit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17330CA-BCF1-52A3-7530-343587C060CA}"/>
              </a:ext>
            </a:extLst>
          </p:cNvPr>
          <p:cNvSpPr/>
          <p:nvPr/>
        </p:nvSpPr>
        <p:spPr>
          <a:xfrm>
            <a:off x="5962980" y="1706285"/>
            <a:ext cx="1931378" cy="1150816"/>
          </a:xfrm>
          <a:prstGeom prst="roundRect">
            <a:avLst/>
          </a:prstGeom>
          <a:solidFill>
            <a:schemeClr val="bg2">
              <a:lumMod val="50000"/>
            </a:schemeClr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RL Workbench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EE57DBB-A767-F364-2378-42026234B241}"/>
              </a:ext>
            </a:extLst>
          </p:cNvPr>
          <p:cNvGrpSpPr/>
          <p:nvPr/>
        </p:nvGrpSpPr>
        <p:grpSpPr>
          <a:xfrm>
            <a:off x="3352912" y="3376504"/>
            <a:ext cx="2268583" cy="2637692"/>
            <a:chOff x="6607753" y="3823594"/>
            <a:chExt cx="2268583" cy="2637692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5CE8580F-B813-1D41-0584-3AC060DB4366}"/>
                </a:ext>
              </a:extLst>
            </p:cNvPr>
            <p:cNvSpPr/>
            <p:nvPr/>
          </p:nvSpPr>
          <p:spPr>
            <a:xfrm>
              <a:off x="6607753" y="3823594"/>
              <a:ext cx="2268583" cy="2637692"/>
            </a:xfrm>
            <a:prstGeom prst="roundRect">
              <a:avLst/>
            </a:prstGeom>
            <a:noFill/>
            <a:ln w="666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  <a:latin typeface="Lato" panose="020F0502020204030203" pitchFamily="34" charset="0"/>
                </a:rPr>
                <a:t>ST-IPm-8460</a:t>
              </a:r>
            </a:p>
            <a:p>
              <a:pPr algn="ctr"/>
              <a:r>
                <a:rPr lang="en-US" sz="1400" dirty="0">
                  <a:solidFill>
                    <a:schemeClr val="tx2"/>
                  </a:solidFill>
                  <a:latin typeface="Lato" panose="020F0502020204030203" pitchFamily="34" charset="0"/>
                </a:rPr>
                <a:t>VT-mIPm-138-D</a:t>
              </a:r>
            </a:p>
            <a:p>
              <a:pPr algn="ctr"/>
              <a:r>
                <a:rPr lang="en-US" sz="1400" dirty="0">
                  <a:solidFill>
                    <a:schemeClr val="tx2"/>
                  </a:solidFill>
                  <a:latin typeface="Lato" panose="020F0502020204030203" pitchFamily="34" charset="0"/>
                </a:rPr>
                <a:t>VT-mIPm-248-D</a:t>
              </a:r>
              <a:endParaRPr lang="en-US" sz="2000" dirty="0">
                <a:solidFill>
                  <a:schemeClr val="tx2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9" name="Cylinder 8">
              <a:extLst>
                <a:ext uri="{FF2B5EF4-FFF2-40B4-BE49-F238E27FC236}">
                  <a16:creationId xmlns:a16="http://schemas.microsoft.com/office/drawing/2014/main" id="{F2B598D3-DCC7-6F5A-7C2C-60AC731C85DE}"/>
                </a:ext>
              </a:extLst>
            </p:cNvPr>
            <p:cNvSpPr/>
            <p:nvPr/>
          </p:nvSpPr>
          <p:spPr>
            <a:xfrm>
              <a:off x="6923795" y="4744469"/>
              <a:ext cx="1736244" cy="1438568"/>
            </a:xfrm>
            <a:prstGeom prst="can">
              <a:avLst/>
            </a:prstGeom>
            <a:solidFill>
              <a:schemeClr val="tx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Red Lion Runtime</a:t>
              </a:r>
            </a:p>
          </p:txBody>
        </p:sp>
      </p:grp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1CADA52E-CC2C-84F4-94F2-487ADB7085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7525970"/>
              </p:ext>
            </p:extLst>
          </p:nvPr>
        </p:nvGraphicFramePr>
        <p:xfrm>
          <a:off x="5962980" y="3155959"/>
          <a:ext cx="2077235" cy="29373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4" name="Picture Placeholder 31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E550A7-3688-1162-DBF0-DF1391C272E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90" r="5990"/>
          <a:stretch>
            <a:fillRect/>
          </a:stretch>
        </p:blipFill>
        <p:spPr>
          <a:xfrm>
            <a:off x="9408368" y="1752848"/>
            <a:ext cx="2187241" cy="1228817"/>
          </a:xfrm>
          <a:prstGeom prst="rect">
            <a:avLst/>
          </a:prstGeom>
        </p:spPr>
      </p:pic>
      <p:pic>
        <p:nvPicPr>
          <p:cNvPr id="15" name="Picture Placeholder 31">
            <a:extLst>
              <a:ext uri="{FF2B5EF4-FFF2-40B4-BE49-F238E27FC236}">
                <a16:creationId xmlns:a16="http://schemas.microsoft.com/office/drawing/2014/main" id="{690EC4F9-D832-954B-0DAF-8B85FBC9183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408368" y="3247618"/>
            <a:ext cx="2187241" cy="110873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8EFA771-8A3E-D508-3C33-F45A6746DEDA}"/>
              </a:ext>
            </a:extLst>
          </p:cNvPr>
          <p:cNvSpPr txBox="1"/>
          <p:nvPr/>
        </p:nvSpPr>
        <p:spPr>
          <a:xfrm>
            <a:off x="609166" y="2970370"/>
            <a:ext cx="2605463" cy="115802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ts val="1680"/>
              </a:lnSpc>
              <a:spcBef>
                <a:spcPts val="600"/>
              </a:spcBef>
            </a:pPr>
            <a:r>
              <a:rPr lang="en-US" sz="1400" dirty="0">
                <a:solidFill>
                  <a:srgbClr val="63666A"/>
                </a:solidFill>
                <a:latin typeface="Lato" panose="020F0502020204030203" pitchFamily="34" charset="0"/>
              </a:rPr>
              <a:t>Configuration Only</a:t>
            </a:r>
          </a:p>
          <a:p>
            <a:pPr marL="285750" indent="-285750">
              <a:lnSpc>
                <a:spcPts val="1680"/>
              </a:lnSpc>
              <a:spcBef>
                <a:spcPts val="600"/>
              </a:spcBef>
              <a:buClr>
                <a:schemeClr val="accent3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rgbClr val="63666A"/>
                </a:solidFill>
                <a:latin typeface="Lato" panose="020F0502020204030203" pitchFamily="34" charset="0"/>
              </a:rPr>
              <a:t>IP address</a:t>
            </a:r>
          </a:p>
          <a:p>
            <a:pPr marL="285750" indent="-285750">
              <a:lnSpc>
                <a:spcPts val="1680"/>
              </a:lnSpc>
              <a:spcBef>
                <a:spcPts val="600"/>
              </a:spcBef>
              <a:buClr>
                <a:schemeClr val="accent3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rgbClr val="63666A"/>
                </a:solidFill>
                <a:latin typeface="Lato" panose="020F0502020204030203" pitchFamily="34" charset="0"/>
              </a:rPr>
              <a:t>User Authentication</a:t>
            </a:r>
          </a:p>
          <a:p>
            <a:pPr marL="285750" indent="-285750">
              <a:lnSpc>
                <a:spcPts val="1680"/>
              </a:lnSpc>
              <a:spcBef>
                <a:spcPts val="600"/>
              </a:spcBef>
              <a:buClr>
                <a:schemeClr val="accent3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rgbClr val="63666A"/>
                </a:solidFill>
                <a:latin typeface="Lato" panose="020F0502020204030203" pitchFamily="34" charset="0"/>
              </a:rPr>
              <a:t>Firewal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914B497-CCF8-57FF-5FCC-74FE2A3F93C8}"/>
              </a:ext>
            </a:extLst>
          </p:cNvPr>
          <p:cNvSpPr txBox="1"/>
          <p:nvPr/>
        </p:nvSpPr>
        <p:spPr>
          <a:xfrm>
            <a:off x="10013026" y="2904674"/>
            <a:ext cx="9779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63666A"/>
                </a:solidFill>
                <a:latin typeface="Lato" panose="020F0502020204030203" pitchFamily="34" charset="0"/>
              </a:rPr>
              <a:t>Program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9423038-2EF8-12C5-C93E-C24260EC738B}"/>
              </a:ext>
            </a:extLst>
          </p:cNvPr>
          <p:cNvSpPr txBox="1"/>
          <p:nvPr/>
        </p:nvSpPr>
        <p:spPr>
          <a:xfrm>
            <a:off x="9973200" y="4244092"/>
            <a:ext cx="9945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63666A"/>
                </a:solidFill>
                <a:latin typeface="Lato" panose="020F0502020204030203" pitchFamily="34" charset="0"/>
              </a:rPr>
              <a:t>Datalog</a:t>
            </a:r>
          </a:p>
        </p:txBody>
      </p:sp>
      <p:pic>
        <p:nvPicPr>
          <p:cNvPr id="19" name="Picture Placeholder 31">
            <a:extLst>
              <a:ext uri="{FF2B5EF4-FFF2-40B4-BE49-F238E27FC236}">
                <a16:creationId xmlns:a16="http://schemas.microsoft.com/office/drawing/2014/main" id="{2D4F4AAA-DB5B-588B-C3C4-F42529A4C54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84" b="26616"/>
          <a:stretch/>
        </p:blipFill>
        <p:spPr>
          <a:xfrm>
            <a:off x="9408368" y="4661398"/>
            <a:ext cx="2187241" cy="621583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9D38265-AE67-B6CC-6807-671888A40552}"/>
              </a:ext>
            </a:extLst>
          </p:cNvPr>
          <p:cNvSpPr txBox="1"/>
          <p:nvPr/>
        </p:nvSpPr>
        <p:spPr>
          <a:xfrm>
            <a:off x="9885013" y="5129092"/>
            <a:ext cx="12339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63666A"/>
                </a:solidFill>
                <a:latin typeface="Lato" panose="020F0502020204030203" pitchFamily="34" charset="0"/>
              </a:rPr>
              <a:t>I/O Transfers</a:t>
            </a:r>
          </a:p>
        </p:txBody>
      </p:sp>
      <p:pic>
        <p:nvPicPr>
          <p:cNvPr id="21" name="Picture Placeholder 31">
            <a:extLst>
              <a:ext uri="{FF2B5EF4-FFF2-40B4-BE49-F238E27FC236}">
                <a16:creationId xmlns:a16="http://schemas.microsoft.com/office/drawing/2014/main" id="{6AA2A63C-32AB-5B0F-041F-DB6D75DBA13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84" b="31264"/>
          <a:stretch/>
        </p:blipFill>
        <p:spPr>
          <a:xfrm>
            <a:off x="9408368" y="5511075"/>
            <a:ext cx="2187241" cy="582221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67A07EE-8E5F-51E1-CEDA-3D84DE00D6CE}"/>
              </a:ext>
            </a:extLst>
          </p:cNvPr>
          <p:cNvSpPr txBox="1"/>
          <p:nvPr/>
        </p:nvSpPr>
        <p:spPr>
          <a:xfrm>
            <a:off x="9812579" y="5943405"/>
            <a:ext cx="13157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63666A"/>
                </a:solidFill>
                <a:latin typeface="Lato" panose="020F0502020204030203" pitchFamily="34" charset="0"/>
              </a:rPr>
              <a:t>SCADA</a:t>
            </a:r>
          </a:p>
        </p:txBody>
      </p:sp>
      <p:pic>
        <p:nvPicPr>
          <p:cNvPr id="23" name="Picture Placeholder 31">
            <a:extLst>
              <a:ext uri="{FF2B5EF4-FFF2-40B4-BE49-F238E27FC236}">
                <a16:creationId xmlns:a16="http://schemas.microsoft.com/office/drawing/2014/main" id="{33543C18-8BB5-FB3B-66E0-D232A43CB23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6" r="4936"/>
          <a:stretch/>
        </p:blipFill>
        <p:spPr>
          <a:xfrm>
            <a:off x="9408368" y="558483"/>
            <a:ext cx="2187241" cy="1008432"/>
          </a:xfrm>
          <a:prstGeom prst="rect">
            <a:avLst/>
          </a:prstGeom>
        </p:spPr>
      </p:pic>
      <p:sp>
        <p:nvSpPr>
          <p:cNvPr id="4" name="Right Triangle 29">
            <a:extLst>
              <a:ext uri="{FF2B5EF4-FFF2-40B4-BE49-F238E27FC236}">
                <a16:creationId xmlns:a16="http://schemas.microsoft.com/office/drawing/2014/main" id="{854ABD07-3A6F-9868-A569-09ACE6535B5F}"/>
              </a:ext>
            </a:extLst>
          </p:cNvPr>
          <p:cNvSpPr/>
          <p:nvPr/>
        </p:nvSpPr>
        <p:spPr>
          <a:xfrm flipH="1">
            <a:off x="5721235" y="3140969"/>
            <a:ext cx="221723" cy="3024336"/>
          </a:xfrm>
          <a:custGeom>
            <a:avLst/>
            <a:gdLst>
              <a:gd name="connsiteX0" fmla="*/ 0 w 252423"/>
              <a:gd name="connsiteY0" fmla="*/ 2870254 h 2870254"/>
              <a:gd name="connsiteX1" fmla="*/ 0 w 252423"/>
              <a:gd name="connsiteY1" fmla="*/ 0 h 2870254"/>
              <a:gd name="connsiteX2" fmla="*/ 252423 w 252423"/>
              <a:gd name="connsiteY2" fmla="*/ 2870254 h 2870254"/>
              <a:gd name="connsiteX3" fmla="*/ 0 w 252423"/>
              <a:gd name="connsiteY3" fmla="*/ 2870254 h 2870254"/>
              <a:gd name="connsiteX0" fmla="*/ 0 w 200035"/>
              <a:gd name="connsiteY0" fmla="*/ 2870254 h 2870254"/>
              <a:gd name="connsiteX1" fmla="*/ 0 w 200035"/>
              <a:gd name="connsiteY1" fmla="*/ 0 h 2870254"/>
              <a:gd name="connsiteX2" fmla="*/ 200035 w 200035"/>
              <a:gd name="connsiteY2" fmla="*/ 1641529 h 2870254"/>
              <a:gd name="connsiteX3" fmla="*/ 0 w 200035"/>
              <a:gd name="connsiteY3" fmla="*/ 2870254 h 2870254"/>
              <a:gd name="connsiteX0" fmla="*/ 0 w 209560"/>
              <a:gd name="connsiteY0" fmla="*/ 2870254 h 2870254"/>
              <a:gd name="connsiteX1" fmla="*/ 0 w 209560"/>
              <a:gd name="connsiteY1" fmla="*/ 0 h 2870254"/>
              <a:gd name="connsiteX2" fmla="*/ 209560 w 209560"/>
              <a:gd name="connsiteY2" fmla="*/ 1451029 h 2870254"/>
              <a:gd name="connsiteX3" fmla="*/ 0 w 209560"/>
              <a:gd name="connsiteY3" fmla="*/ 2870254 h 2870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9560" h="2870254">
                <a:moveTo>
                  <a:pt x="0" y="2870254"/>
                </a:moveTo>
                <a:lnTo>
                  <a:pt x="0" y="0"/>
                </a:lnTo>
                <a:lnTo>
                  <a:pt x="209560" y="1451029"/>
                </a:lnTo>
                <a:lnTo>
                  <a:pt x="0" y="2870254"/>
                </a:ln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l"/>
            <a:endParaRPr lang="en-IN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2C8BC02-182D-483C-4850-4B5C9765B8A2}"/>
              </a:ext>
            </a:extLst>
          </p:cNvPr>
          <p:cNvSpPr txBox="1"/>
          <p:nvPr/>
        </p:nvSpPr>
        <p:spPr>
          <a:xfrm>
            <a:off x="9905249" y="1306165"/>
            <a:ext cx="1193478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rgbClr val="63666A"/>
                </a:solidFill>
                <a:latin typeface="Lato" panose="020F0502020204030203" pitchFamily="34" charset="0"/>
              </a:rPr>
              <a:t>Redundancy</a:t>
            </a:r>
          </a:p>
        </p:txBody>
      </p:sp>
    </p:spTree>
    <p:extLst>
      <p:ext uri="{BB962C8B-B14F-4D97-AF65-F5344CB8AC3E}">
        <p14:creationId xmlns:p14="http://schemas.microsoft.com/office/powerpoint/2010/main" val="184994995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Word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EEAD15-8462-EC0C-C0AD-D507A61954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18D2C49-B7D8-2126-A7B3-21D75E5C02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4460384"/>
            <a:ext cx="2519806" cy="1574799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Programmable</a:t>
            </a:r>
          </a:p>
          <a:p>
            <a:r>
              <a:rPr lang="en-US" dirty="0"/>
              <a:t>Redundant Operation</a:t>
            </a:r>
          </a:p>
          <a:p>
            <a:r>
              <a:rPr lang="en-US" dirty="0"/>
              <a:t>Datalogg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3F48D7-5D05-858E-BE9A-1B2F033F12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duct Li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8ACAC1-D5B2-AD08-1C75-DC91E4A6A5D8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RTU and I/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FC022C-6C6D-3A0B-5548-4065D53A44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27759" y="4460384"/>
            <a:ext cx="2519806" cy="1574799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Programmable</a:t>
            </a:r>
          </a:p>
          <a:p>
            <a:r>
              <a:rPr lang="en-US" dirty="0"/>
              <a:t>Onboard I/O</a:t>
            </a:r>
          </a:p>
          <a:p>
            <a:r>
              <a:rPr lang="en-US" dirty="0"/>
              <a:t>Datalogg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D6CCA4D-ED33-60C2-C5BE-8D93A1BDC1C3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6648" y="1457950"/>
            <a:ext cx="2519806" cy="613230"/>
          </a:xfrm>
          <a:solidFill>
            <a:schemeClr val="tx2"/>
          </a:solidFill>
        </p:spPr>
        <p:txBody>
          <a:bodyPr/>
          <a:lstStyle/>
          <a:p>
            <a:r>
              <a:rPr lang="en-US" b="1" dirty="0"/>
              <a:t>ST-IPm-8460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E6380CA-2AAB-0053-0CB3-897F45DD3383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427759" y="1457950"/>
            <a:ext cx="2519806" cy="61323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VersaTRAK® RTU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VT-mIPm-138\248-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34CBC14-F529-B497-5480-13157200D367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272553" y="1457950"/>
            <a:ext cx="2519806" cy="613230"/>
          </a:xfrm>
          <a:solidFill>
            <a:schemeClr val="tx2"/>
          </a:solidFill>
        </p:spPr>
        <p:txBody>
          <a:bodyPr/>
          <a:lstStyle/>
          <a:p>
            <a:r>
              <a:rPr lang="en-US" b="1" dirty="0"/>
              <a:t>Red Lion Workbenc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F80B2EF-B566-A070-DB1C-5F0E815E5A3A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58330" y="1457950"/>
            <a:ext cx="2519806" cy="613230"/>
          </a:xfrm>
        </p:spPr>
        <p:txBody>
          <a:bodyPr/>
          <a:lstStyle/>
          <a:p>
            <a:r>
              <a:rPr lang="en-US" b="1" dirty="0"/>
              <a:t>EtherTRAK</a:t>
            </a:r>
            <a:r>
              <a:rPr lang="en-US" b="1" dirty="0">
                <a:latin typeface="Abadi" panose="020B0604020104020204" pitchFamily="34" charset="0"/>
              </a:rPr>
              <a:t>® </a:t>
            </a:r>
            <a:r>
              <a:rPr lang="en-US" b="1" dirty="0"/>
              <a:t>-2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7749F73-EE47-060D-23BB-1FD9455AE3F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3868" y="4460384"/>
            <a:ext cx="2519806" cy="1574799"/>
          </a:xfrm>
        </p:spPr>
        <p:txBody>
          <a:bodyPr/>
          <a:lstStyle/>
          <a:p>
            <a:r>
              <a:rPr lang="en-US" dirty="0"/>
              <a:t>5 Languages</a:t>
            </a:r>
          </a:p>
          <a:p>
            <a:r>
              <a:rPr lang="en-US" dirty="0"/>
              <a:t>Protocols</a:t>
            </a:r>
          </a:p>
          <a:p>
            <a:r>
              <a:rPr lang="en-US" dirty="0"/>
              <a:t>Redundancy</a:t>
            </a:r>
          </a:p>
          <a:p>
            <a:r>
              <a:rPr lang="en-US" dirty="0"/>
              <a:t>Two variable database or one variable databas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56112B2-BF67-7B04-3093-D27E660E1D2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8330" y="4460384"/>
            <a:ext cx="2519806" cy="1574799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Three Network Modes</a:t>
            </a:r>
          </a:p>
          <a:p>
            <a:r>
              <a:rPr lang="en-US" dirty="0"/>
              <a:t>Up 34 I/O</a:t>
            </a:r>
          </a:p>
          <a:p>
            <a:r>
              <a:rPr lang="en-US" dirty="0"/>
              <a:t>17 different models</a:t>
            </a:r>
          </a:p>
        </p:txBody>
      </p:sp>
      <p:pic>
        <p:nvPicPr>
          <p:cNvPr id="21" name="Content Placeholder 20">
            <a:extLst>
              <a:ext uri="{FF2B5EF4-FFF2-40B4-BE49-F238E27FC236}">
                <a16:creationId xmlns:a16="http://schemas.microsoft.com/office/drawing/2014/main" id="{224536C6-C3C6-AB44-7C97-7897EFB1FA51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337" y="2254446"/>
            <a:ext cx="2026176" cy="1352994"/>
          </a:xfrm>
        </p:spPr>
      </p:pic>
      <p:pic>
        <p:nvPicPr>
          <p:cNvPr id="31" name="Content Placeholder 30">
            <a:extLst>
              <a:ext uri="{FF2B5EF4-FFF2-40B4-BE49-F238E27FC236}">
                <a16:creationId xmlns:a16="http://schemas.microsoft.com/office/drawing/2014/main" id="{FE5A66DE-EE7E-1418-EE33-03EA19746D0C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2136" y="2254446"/>
            <a:ext cx="1447800" cy="1447800"/>
          </a:xfrm>
        </p:spPr>
      </p:pic>
      <p:pic>
        <p:nvPicPr>
          <p:cNvPr id="29" name="Content Placeholder 28">
            <a:extLst>
              <a:ext uri="{FF2B5EF4-FFF2-40B4-BE49-F238E27FC236}">
                <a16:creationId xmlns:a16="http://schemas.microsoft.com/office/drawing/2014/main" id="{8B0CDD14-D4BA-F046-B3EB-C621C7BB4215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7248" y="2254446"/>
            <a:ext cx="1554478" cy="1554478"/>
          </a:xfr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7EF79557-DB00-6F2D-5BDD-93878763A17F}"/>
              </a:ext>
            </a:extLst>
          </p:cNvPr>
          <p:cNvSpPr txBox="1"/>
          <p:nvPr/>
        </p:nvSpPr>
        <p:spPr>
          <a:xfrm>
            <a:off x="609600" y="3886017"/>
            <a:ext cx="252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3666A"/>
                </a:solidFill>
                <a:latin typeface="Lato" panose="020F0502020204030203" pitchFamily="34" charset="0"/>
              </a:rPr>
              <a:t>New Programmable RTU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899182-CC80-05DE-4172-0CA055B4A16F}"/>
              </a:ext>
            </a:extLst>
          </p:cNvPr>
          <p:cNvSpPr txBox="1"/>
          <p:nvPr/>
        </p:nvSpPr>
        <p:spPr>
          <a:xfrm>
            <a:off x="3442757" y="3886017"/>
            <a:ext cx="24898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3666A"/>
                </a:solidFill>
                <a:latin typeface="Lato" panose="020F0502020204030203" pitchFamily="34" charset="0"/>
              </a:rPr>
              <a:t>New Programmable RTU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257F779-752B-D38C-AC51-5C9F5281C019}"/>
              </a:ext>
            </a:extLst>
          </p:cNvPr>
          <p:cNvSpPr txBox="1"/>
          <p:nvPr/>
        </p:nvSpPr>
        <p:spPr>
          <a:xfrm>
            <a:off x="6246820" y="3886017"/>
            <a:ext cx="25268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3666A"/>
                </a:solidFill>
                <a:latin typeface="Lato" panose="020F0502020204030203" pitchFamily="34" charset="0"/>
              </a:rPr>
              <a:t>IEC 61131-3 Programming Workbench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C96352D-B78A-05D6-0497-4A4047AF5FD4}"/>
              </a:ext>
            </a:extLst>
          </p:cNvPr>
          <p:cNvSpPr txBox="1"/>
          <p:nvPr/>
        </p:nvSpPr>
        <p:spPr>
          <a:xfrm>
            <a:off x="9072426" y="3886017"/>
            <a:ext cx="252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63666A"/>
                </a:solidFill>
                <a:latin typeface="Lato" panose="020F0502020204030203" pitchFamily="34" charset="0"/>
              </a:rPr>
              <a:t>Dual Ethernet I/O Module</a:t>
            </a:r>
          </a:p>
        </p:txBody>
      </p:sp>
      <p:pic>
        <p:nvPicPr>
          <p:cNvPr id="27" name="Content Placeholder 26">
            <a:extLst>
              <a:ext uri="{FF2B5EF4-FFF2-40B4-BE49-F238E27FC236}">
                <a16:creationId xmlns:a16="http://schemas.microsoft.com/office/drawing/2014/main" id="{6527BBDB-70ED-9928-858E-529862F8F044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22" t="18461" r="9322" b="18461"/>
          <a:stretch/>
        </p:blipFill>
        <p:spPr>
          <a:xfrm>
            <a:off x="3724914" y="2254446"/>
            <a:ext cx="1925496" cy="1492882"/>
          </a:xfr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54CFB9E-3CD9-AF6C-3482-F3C211DA7A45}"/>
              </a:ext>
            </a:extLst>
          </p:cNvPr>
          <p:cNvSpPr/>
          <p:nvPr/>
        </p:nvSpPr>
        <p:spPr>
          <a:xfrm>
            <a:off x="60248" y="1250526"/>
            <a:ext cx="8916072" cy="490344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l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873069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AA7DB6FF-B75A-0B62-2B26-471D5F17660A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950" y="855662"/>
            <a:ext cx="4762500" cy="4762500"/>
          </a:xfr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40BE992-C75B-3F8C-CB80-DA5E385FE4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therTRAK</a:t>
            </a:r>
            <a:r>
              <a:rPr lang="en-US" dirty="0">
                <a:latin typeface="Abadi" panose="020B0604020104020204" pitchFamily="34" charset="0"/>
              </a:rPr>
              <a:t>® </a:t>
            </a:r>
            <a:r>
              <a:rPr lang="en-US" dirty="0"/>
              <a:t>-2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DD4D2D-D1B4-6DC0-8024-CB7BD10BF3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ardware Featur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333798-F9D6-B81E-D608-765B11F5039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ts val="1920"/>
              </a:lnSpc>
            </a:pPr>
            <a:r>
              <a:rPr lang="en-US" altLang="en-US" sz="1600" b="1" dirty="0"/>
              <a:t>17 I/O Module Models</a:t>
            </a:r>
          </a:p>
          <a:p>
            <a:pPr>
              <a:lnSpc>
                <a:spcPts val="1920"/>
              </a:lnSpc>
            </a:pPr>
            <a:r>
              <a:rPr lang="en-US" altLang="en-US" sz="1600" b="1" dirty="0"/>
              <a:t>Redundancy</a:t>
            </a:r>
          </a:p>
          <a:p>
            <a:pPr lvl="1">
              <a:lnSpc>
                <a:spcPts val="1920"/>
              </a:lnSpc>
            </a:pPr>
            <a:r>
              <a:rPr lang="en-US" altLang="en-US" sz="1400" dirty="0"/>
              <a:t>Redundant Ethernet Ports</a:t>
            </a:r>
          </a:p>
          <a:p>
            <a:pPr lvl="1">
              <a:lnSpc>
                <a:spcPts val="1920"/>
              </a:lnSpc>
            </a:pPr>
            <a:r>
              <a:rPr lang="en-US" altLang="en-US" sz="1400" dirty="0"/>
              <a:t>Dual power input and communication ports</a:t>
            </a:r>
          </a:p>
          <a:p>
            <a:pPr>
              <a:lnSpc>
                <a:spcPts val="1920"/>
              </a:lnSpc>
            </a:pPr>
            <a:r>
              <a:rPr lang="en-US" altLang="en-US" sz="1600" b="1" dirty="0"/>
              <a:t>RS485 Communication to field devices</a:t>
            </a:r>
          </a:p>
          <a:p>
            <a:pPr>
              <a:lnSpc>
                <a:spcPts val="1920"/>
              </a:lnSpc>
            </a:pPr>
            <a:r>
              <a:rPr lang="en-US" altLang="en-US" sz="1600" b="1" dirty="0"/>
              <a:t>Certified for rugged and  hazardous environment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CE0B550-2E01-500F-915F-AC1EA9996CD8}"/>
              </a:ext>
            </a:extLst>
          </p:cNvPr>
          <p:cNvGrpSpPr/>
          <p:nvPr/>
        </p:nvGrpSpPr>
        <p:grpSpPr>
          <a:xfrm>
            <a:off x="695401" y="4996680"/>
            <a:ext cx="4320480" cy="677909"/>
            <a:chOff x="643012" y="4293097"/>
            <a:chExt cx="4855233" cy="761815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98B5E4EC-71E7-AEC3-45D2-2A7190CAD1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189" t="40362" r="7640" b="34449"/>
            <a:stretch/>
          </p:blipFill>
          <p:spPr>
            <a:xfrm>
              <a:off x="3151629" y="4461009"/>
              <a:ext cx="1135974" cy="425990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97BBA67B-38E3-FD6E-C65F-B5C3449C4F2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3806" y="4298041"/>
              <a:ext cx="824439" cy="751926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6999C54E-2793-EE8C-71AF-5135A957441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94" t="24433" r="22794" b="24433"/>
            <a:stretch/>
          </p:blipFill>
          <p:spPr>
            <a:xfrm>
              <a:off x="643012" y="4293097"/>
              <a:ext cx="810665" cy="761815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05E26CC5-E0AD-9A0F-DE68-423E7A0D3D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30" t="17206" r="15430" b="17206"/>
            <a:stretch/>
          </p:blipFill>
          <p:spPr>
            <a:xfrm>
              <a:off x="1839880" y="4344571"/>
              <a:ext cx="925546" cy="65886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3046443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D872ABA-083E-725A-FAB0-104F2860DE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therTRAK</a:t>
            </a:r>
            <a:r>
              <a:rPr lang="en-US" dirty="0">
                <a:latin typeface="Abadi" panose="020B0604020104020204" pitchFamily="34" charset="0"/>
              </a:rPr>
              <a:t>® </a:t>
            </a:r>
            <a:r>
              <a:rPr lang="en-US" dirty="0"/>
              <a:t>-2</a:t>
            </a:r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C2C1CC-9899-058B-FE04-C57C79F55AF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025273-9537-2BF9-DDCE-F5C202F47E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ts val="1920"/>
              </a:lnSpc>
              <a:buFont typeface="+mj-lt"/>
              <a:buAutoNum type="arabicPeriod"/>
            </a:pPr>
            <a:r>
              <a:rPr lang="en-US" altLang="en-US" b="1" dirty="0">
                <a:solidFill>
                  <a:schemeClr val="bg1">
                    <a:lumMod val="50000"/>
                  </a:schemeClr>
                </a:solidFill>
              </a:rPr>
              <a:t>Dual Ethernet ports</a:t>
            </a:r>
          </a:p>
          <a:p>
            <a:pPr lvl="1">
              <a:lnSpc>
                <a:spcPts val="1920"/>
              </a:lnSpc>
              <a:buSzPct val="60000"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</a:rPr>
              <a:t>Real-Time Ring</a:t>
            </a: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™ switch redundancy</a:t>
            </a:r>
          </a:p>
          <a:p>
            <a:pPr lvl="1">
              <a:lnSpc>
                <a:spcPts val="1920"/>
              </a:lnSpc>
              <a:buSzPct val="60000"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Switch “passthru” elimination</a:t>
            </a:r>
          </a:p>
          <a:p>
            <a:pPr lvl="1">
              <a:lnSpc>
                <a:spcPts val="1920"/>
              </a:lnSpc>
              <a:buSzPct val="60000"/>
            </a:pPr>
            <a:r>
              <a:rPr lang="en-US" altLang="en-US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Dual independent networks</a:t>
            </a:r>
          </a:p>
          <a:p>
            <a:pPr>
              <a:lnSpc>
                <a:spcPts val="1920"/>
              </a:lnSpc>
              <a:buFont typeface="+mj-lt"/>
              <a:buAutoNum type="arabicPeriod"/>
            </a:pPr>
            <a:r>
              <a:rPr lang="en-US" altLang="en-US" b="1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USB port for local interface</a:t>
            </a:r>
          </a:p>
          <a:p>
            <a:pPr>
              <a:lnSpc>
                <a:spcPts val="1920"/>
              </a:lnSpc>
              <a:buFont typeface="+mj-lt"/>
              <a:buAutoNum type="arabicPeriod"/>
            </a:pPr>
            <a:r>
              <a:rPr lang="en-US" altLang="en-US" b="1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Redundant power inputs</a:t>
            </a:r>
          </a:p>
          <a:p>
            <a:pPr>
              <a:lnSpc>
                <a:spcPts val="1920"/>
              </a:lnSpc>
              <a:buFont typeface="+mj-lt"/>
              <a:buAutoNum type="arabicPeriod"/>
            </a:pPr>
            <a:r>
              <a:rPr lang="en-US" altLang="en-US" b="1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RS-485 port</a:t>
            </a:r>
          </a:p>
          <a:p>
            <a:pPr>
              <a:lnSpc>
                <a:spcPts val="1920"/>
              </a:lnSpc>
              <a:buFont typeface="+mj-lt"/>
              <a:buAutoNum type="arabicPeriod"/>
            </a:pPr>
            <a:r>
              <a:rPr lang="en-US" altLang="en-US" b="1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Independent watchdog output</a:t>
            </a:r>
          </a:p>
          <a:p>
            <a:pPr>
              <a:lnSpc>
                <a:spcPts val="1920"/>
              </a:lnSpc>
              <a:buFont typeface="+mj-lt"/>
              <a:buAutoNum type="arabicPeriod"/>
            </a:pPr>
            <a:r>
              <a:rPr lang="en-US" altLang="en-US" b="1" dirty="0">
                <a:solidFill>
                  <a:schemeClr val="bg1">
                    <a:lumMod val="50000"/>
                  </a:schemeClr>
                </a:solidFill>
                <a:cs typeface="Times New Roman" panose="02020603050405020304" pitchFamily="18" charset="0"/>
              </a:rPr>
              <a:t>Up to 34 high-density I/O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93B10D3A-54AC-C62C-745E-EA81F1A9841A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982" y="1610688"/>
            <a:ext cx="2564157" cy="4598099"/>
          </a:xfr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62977D44-C207-580A-18D8-39E25BC93A6C}"/>
              </a:ext>
            </a:extLst>
          </p:cNvPr>
          <p:cNvSpPr/>
          <p:nvPr/>
        </p:nvSpPr>
        <p:spPr>
          <a:xfrm>
            <a:off x="8718245" y="1431468"/>
            <a:ext cx="413356" cy="41335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IN" sz="1600" dirty="0"/>
              <a:t>1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60F5609-93E2-30A6-A829-97B9CBC72270}"/>
              </a:ext>
            </a:extLst>
          </p:cNvPr>
          <p:cNvSpPr/>
          <p:nvPr/>
        </p:nvSpPr>
        <p:spPr>
          <a:xfrm>
            <a:off x="9912424" y="2060848"/>
            <a:ext cx="413356" cy="41335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IN" sz="1600" dirty="0"/>
              <a:t>2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5E581C1-44F4-6DD0-B05B-461B84083D0B}"/>
              </a:ext>
            </a:extLst>
          </p:cNvPr>
          <p:cNvSpPr/>
          <p:nvPr/>
        </p:nvSpPr>
        <p:spPr>
          <a:xfrm>
            <a:off x="9912424" y="2650190"/>
            <a:ext cx="413356" cy="41335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IN" sz="1600" dirty="0"/>
              <a:t>3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6AFA8CD-6A7C-DBC9-5F51-B5EE8DB92B2C}"/>
              </a:ext>
            </a:extLst>
          </p:cNvPr>
          <p:cNvSpPr/>
          <p:nvPr/>
        </p:nvSpPr>
        <p:spPr>
          <a:xfrm>
            <a:off x="9912424" y="3222322"/>
            <a:ext cx="413356" cy="41335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IN" sz="1600" dirty="0"/>
              <a:t>4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3B7747A2-9BBB-53C6-0D7B-5C1A034535ED}"/>
              </a:ext>
            </a:extLst>
          </p:cNvPr>
          <p:cNvSpPr/>
          <p:nvPr/>
        </p:nvSpPr>
        <p:spPr>
          <a:xfrm>
            <a:off x="9912424" y="4261434"/>
            <a:ext cx="413356" cy="41335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IN" sz="1600" dirty="0"/>
              <a:t>5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D188AE3-6217-5DD0-8EC1-7F9DE2309203}"/>
              </a:ext>
            </a:extLst>
          </p:cNvPr>
          <p:cNvSpPr/>
          <p:nvPr/>
        </p:nvSpPr>
        <p:spPr>
          <a:xfrm>
            <a:off x="9912424" y="4821754"/>
            <a:ext cx="413356" cy="413356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ctr"/>
            <a:r>
              <a:rPr lang="en-IN" sz="1600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3889672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3C7AC9-152A-A66E-5B38-7F8804C10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EtherTRAK</a:t>
            </a:r>
            <a:r>
              <a:rPr lang="en-US" altLang="en-US" dirty="0">
                <a:latin typeface="Abadi" panose="020B0604020104020204" pitchFamily="34" charset="0"/>
              </a:rPr>
              <a:t>®</a:t>
            </a:r>
            <a:r>
              <a:rPr lang="en-US" altLang="en-US" dirty="0"/>
              <a:t>-2 Networking Options</a:t>
            </a:r>
            <a:endParaRPr lang="en-IN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CC25E43B-3D43-F8DA-23E8-5E701F9990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5453" y="4816950"/>
            <a:ext cx="3734247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>
              <a:tabLst>
                <a:tab pos="4572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tabLst>
                <a:tab pos="4572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tabLst>
                <a:tab pos="4572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tabLst>
                <a:tab pos="4572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tabLst>
                <a:tab pos="4572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4572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342000" indent="-342000" fontAlgn="base">
              <a:spcBef>
                <a:spcPct val="0"/>
              </a:spcBef>
              <a:spcAft>
                <a:spcPct val="0"/>
              </a:spcAft>
              <a:buClr>
                <a:schemeClr val="tx2">
                  <a:lumMod val="20000"/>
                  <a:lumOff val="80000"/>
                </a:schemeClr>
              </a:buClr>
              <a:buSzPct val="95000"/>
              <a:buFont typeface="+mj-lt"/>
              <a:buAutoNum type="arabicPeriod" startAt="3"/>
            </a:pPr>
            <a:r>
              <a:rPr lang="en-US" altLang="en-US" sz="1600" b="1" dirty="0">
                <a:solidFill>
                  <a:schemeClr val="tx2"/>
                </a:solidFill>
                <a:latin typeface="Lato" panose="020F0502020204030203" pitchFamily="34" charset="0"/>
                <a:cs typeface="Times New Roman" pitchFamily="18" charset="0"/>
              </a:rPr>
              <a:t>Two Networks Mode </a:t>
            </a:r>
            <a:br>
              <a:rPr lang="en-US" altLang="en-US" sz="1600" b="1" dirty="0">
                <a:solidFill>
                  <a:srgbClr val="000000"/>
                </a:solidFill>
                <a:latin typeface="Lato" panose="020F0502020204030203" pitchFamily="34" charset="0"/>
                <a:cs typeface="Times New Roman" pitchFamily="18" charset="0"/>
              </a:rPr>
            </a:br>
            <a:r>
              <a:rPr lang="en-US" altLang="en-US" sz="1400" i="1" dirty="0">
                <a:solidFill>
                  <a:prstClr val="black"/>
                </a:solidFill>
                <a:latin typeface="Lato" panose="020F0502020204030203" pitchFamily="34" charset="0"/>
                <a:cs typeface="Times New Roman" pitchFamily="18" charset="0"/>
              </a:rPr>
              <a:t>Each Ethernet port has a unique MAC and IP address for connecting two independent physical networks </a:t>
            </a:r>
            <a:endParaRPr lang="en-US" altLang="en-US" sz="1600" i="1" dirty="0">
              <a:solidFill>
                <a:prstClr val="black"/>
              </a:solidFill>
              <a:latin typeface="Lato" panose="020F0502020204030203" pitchFamily="34" charset="0"/>
              <a:cs typeface="Times New Roman" pitchFamily="18" charset="0"/>
            </a:endParaRP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C6F63C3E-A075-08A0-06CD-9FA0437B2F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48128" y="1753344"/>
            <a:ext cx="3854480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>
              <a:tabLst>
                <a:tab pos="3429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tabLst>
                <a:tab pos="3429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tabLst>
                <a:tab pos="3429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tabLst>
                <a:tab pos="3429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tabLst>
                <a:tab pos="3429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342900" algn="l"/>
              </a:tabLs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342000" indent="-342000" fontAlgn="base">
              <a:spcBef>
                <a:spcPct val="0"/>
              </a:spcBef>
              <a:spcAft>
                <a:spcPct val="0"/>
              </a:spcAft>
              <a:buClr>
                <a:schemeClr val="tx2">
                  <a:lumMod val="20000"/>
                  <a:lumOff val="80000"/>
                </a:schemeClr>
              </a:buClr>
              <a:buSzPct val="95000"/>
              <a:buFont typeface="+mj-lt"/>
              <a:buAutoNum type="arabicPeriod"/>
            </a:pPr>
            <a:r>
              <a:rPr lang="en-US" altLang="en-US" sz="1600" b="1" dirty="0">
                <a:solidFill>
                  <a:schemeClr val="tx2"/>
                </a:solidFill>
                <a:latin typeface="Lato" panose="020F0502020204030203" pitchFamily="34" charset="0"/>
                <a:cs typeface="Times New Roman" pitchFamily="18" charset="0"/>
              </a:rPr>
              <a:t>Real-Time Ring Mode </a:t>
            </a:r>
            <a:br>
              <a:rPr lang="en-US" altLang="en-US" sz="1600" b="1" dirty="0">
                <a:solidFill>
                  <a:srgbClr val="E10535"/>
                </a:solidFill>
                <a:latin typeface="Lato" panose="020F0502020204030203" pitchFamily="34" charset="0"/>
                <a:cs typeface="Times New Roman" pitchFamily="18" charset="0"/>
              </a:rPr>
            </a:br>
            <a:r>
              <a:rPr lang="en-US" altLang="en-US" sz="1400" i="1" dirty="0">
                <a:solidFill>
                  <a:srgbClr val="000000"/>
                </a:solidFill>
                <a:latin typeface="Lato" panose="020F0502020204030203" pitchFamily="34" charset="0"/>
                <a:cs typeface="Times New Roman" pitchFamily="18" charset="0"/>
              </a:rPr>
              <a:t>C</a:t>
            </a:r>
            <a:r>
              <a:rPr lang="en-US" altLang="en-US" sz="1400" i="1" dirty="0">
                <a:solidFill>
                  <a:prstClr val="black"/>
                </a:solidFill>
                <a:latin typeface="Lato" panose="020F0502020204030203" pitchFamily="34" charset="0"/>
                <a:cs typeface="Times New Roman" pitchFamily="18" charset="0"/>
              </a:rPr>
              <a:t>reate redundant Ethernet reliability without additional costly equipment </a:t>
            </a:r>
            <a:endParaRPr lang="en-US" altLang="en-US" sz="1600" i="1" dirty="0">
              <a:solidFill>
                <a:prstClr val="black"/>
              </a:solidFill>
              <a:latin typeface="Lato" panose="020F0502020204030203" pitchFamily="34" charset="0"/>
              <a:cs typeface="Times New Roman" pitchFamily="18" charset="0"/>
            </a:endParaRPr>
          </a:p>
        </p:txBody>
      </p:sp>
      <p:pic>
        <p:nvPicPr>
          <p:cNvPr id="7" name="Picture 6" descr="Switch Elimination Mode">
            <a:extLst>
              <a:ext uri="{FF2B5EF4-FFF2-40B4-BE49-F238E27FC236}">
                <a16:creationId xmlns:a16="http://schemas.microsoft.com/office/drawing/2014/main" id="{C1E24401-D762-64CB-F0A0-01D4E827F4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1" y="3066979"/>
            <a:ext cx="4714055" cy="1349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A5DA658-7BA3-ABF8-1BD4-DDDA2C5753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3472" y="3192830"/>
            <a:ext cx="3560319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342900" indent="-342900" fontAlgn="base">
              <a:spcBef>
                <a:spcPct val="0"/>
              </a:spcBef>
              <a:spcAft>
                <a:spcPct val="0"/>
              </a:spcAft>
              <a:buClr>
                <a:schemeClr val="tx2">
                  <a:lumMod val="20000"/>
                  <a:lumOff val="80000"/>
                </a:schemeClr>
              </a:buClr>
              <a:buSzPct val="90000"/>
              <a:buFont typeface="+mj-lt"/>
              <a:buAutoNum type="arabicPeriod" startAt="2"/>
            </a:pPr>
            <a:r>
              <a:rPr lang="en-US" altLang="en-US" sz="1600" b="1" dirty="0">
                <a:solidFill>
                  <a:schemeClr val="tx2"/>
                </a:solidFill>
                <a:latin typeface="Lato" panose="020F0502020204030203" pitchFamily="34" charset="0"/>
                <a:cs typeface="Arial"/>
              </a:rPr>
              <a:t>Switch Elimination Mode </a:t>
            </a:r>
            <a:br>
              <a:rPr lang="en-US" altLang="en-US" sz="1600" b="1" dirty="0">
                <a:solidFill>
                  <a:srgbClr val="000000"/>
                </a:solidFill>
                <a:latin typeface="Lato" panose="020F0502020204030203" pitchFamily="34" charset="0"/>
                <a:cs typeface="Arial"/>
              </a:rPr>
            </a:br>
            <a:r>
              <a:rPr lang="en-US" altLang="en-US" sz="1400" i="1" dirty="0">
                <a:solidFill>
                  <a:srgbClr val="63666A"/>
                </a:solidFill>
                <a:latin typeface="Lato" panose="020F0502020204030203" pitchFamily="34" charset="0"/>
                <a:cs typeface="Arial"/>
              </a:rPr>
              <a:t>Daisy-chain modules – without the need for external switches – saves money and reduces complexity</a:t>
            </a:r>
            <a:endParaRPr lang="en-US" altLang="en-US" sz="1600" i="1" dirty="0">
              <a:solidFill>
                <a:srgbClr val="63666A"/>
              </a:solidFill>
              <a:latin typeface="Lato" panose="020F0502020204030203" pitchFamily="34" charset="0"/>
              <a:cs typeface="Arial"/>
            </a:endParaRPr>
          </a:p>
        </p:txBody>
      </p:sp>
      <p:pic>
        <p:nvPicPr>
          <p:cNvPr id="11" name="Picture 10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5250480B-C72C-1F09-5491-0039EC7E3D2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0978" y="4562023"/>
            <a:ext cx="1163486" cy="759988"/>
          </a:xfrm>
          <a:prstGeom prst="rect">
            <a:avLst/>
          </a:prstGeom>
        </p:spPr>
      </p:pic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623E6D8D-FE05-1104-958D-05B53F581137}"/>
              </a:ext>
            </a:extLst>
          </p:cNvPr>
          <p:cNvCxnSpPr>
            <a:cxnSpLocks/>
            <a:endCxn id="19" idx="3"/>
          </p:cNvCxnSpPr>
          <p:nvPr/>
        </p:nvCxnSpPr>
        <p:spPr>
          <a:xfrm rot="16200000" flipV="1">
            <a:off x="4380945" y="5142310"/>
            <a:ext cx="639767" cy="255910"/>
          </a:xfrm>
          <a:prstGeom prst="bentConnector2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B6B15BB8-D55F-B00C-8B3B-5A7A2D576D15}"/>
              </a:ext>
            </a:extLst>
          </p:cNvPr>
          <p:cNvCxnSpPr>
            <a:cxnSpLocks/>
            <a:endCxn id="11" idx="1"/>
          </p:cNvCxnSpPr>
          <p:nvPr/>
        </p:nvCxnSpPr>
        <p:spPr>
          <a:xfrm rot="5400000" flipH="1" flipV="1">
            <a:off x="4822659" y="5123775"/>
            <a:ext cx="670076" cy="306561"/>
          </a:xfrm>
          <a:prstGeom prst="bentConnector2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Diagram, schematic&#10;&#10;Description automatically generated">
            <a:extLst>
              <a:ext uri="{FF2B5EF4-FFF2-40B4-BE49-F238E27FC236}">
                <a16:creationId xmlns:a16="http://schemas.microsoft.com/office/drawing/2014/main" id="{CA5FD3C3-EDAC-3FD7-EB03-9624D80779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704" y="1198966"/>
            <a:ext cx="4403090" cy="1738251"/>
          </a:xfrm>
          <a:prstGeom prst="rect">
            <a:avLst/>
          </a:prstGeom>
        </p:spPr>
      </p:pic>
      <p:pic>
        <p:nvPicPr>
          <p:cNvPr id="15" name="Picture 14" descr="A picture containing indoor, sitting, computer, book&#10;&#10;Description automatically generated">
            <a:extLst>
              <a:ext uri="{FF2B5EF4-FFF2-40B4-BE49-F238E27FC236}">
                <a16:creationId xmlns:a16="http://schemas.microsoft.com/office/drawing/2014/main" id="{9C48D3F3-DCF1-E2FA-F26C-1029C272619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829" y="5291847"/>
            <a:ext cx="911149" cy="1353267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2C5884D2-9656-0166-4F15-35610EE5E6BB}"/>
              </a:ext>
            </a:extLst>
          </p:cNvPr>
          <p:cNvGrpSpPr/>
          <p:nvPr/>
        </p:nvGrpSpPr>
        <p:grpSpPr>
          <a:xfrm>
            <a:off x="3348738" y="4527545"/>
            <a:ext cx="1224135" cy="845671"/>
            <a:chOff x="3348738" y="4527545"/>
            <a:chExt cx="1224135" cy="845671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43F71286-06DD-8B9D-904A-A361B50F74A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15" t="14958" r="10777" b="33192"/>
            <a:stretch/>
          </p:blipFill>
          <p:spPr>
            <a:xfrm>
              <a:off x="3348738" y="4527545"/>
              <a:ext cx="1224135" cy="845671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F214583-E2E5-4E36-76CA-0C5168309948}"/>
                </a:ext>
              </a:extLst>
            </p:cNvPr>
            <p:cNvSpPr/>
            <p:nvPr/>
          </p:nvSpPr>
          <p:spPr>
            <a:xfrm>
              <a:off x="3735653" y="4553934"/>
              <a:ext cx="655285" cy="523042"/>
            </a:xfrm>
            <a:custGeom>
              <a:avLst/>
              <a:gdLst>
                <a:gd name="connsiteX0" fmla="*/ 0 w 629091"/>
                <a:gd name="connsiteY0" fmla="*/ 0 h 461130"/>
                <a:gd name="connsiteX1" fmla="*/ 629091 w 629091"/>
                <a:gd name="connsiteY1" fmla="*/ 0 h 461130"/>
                <a:gd name="connsiteX2" fmla="*/ 629091 w 629091"/>
                <a:gd name="connsiteY2" fmla="*/ 461130 h 461130"/>
                <a:gd name="connsiteX3" fmla="*/ 0 w 629091"/>
                <a:gd name="connsiteY3" fmla="*/ 461130 h 461130"/>
                <a:gd name="connsiteX4" fmla="*/ 0 w 629091"/>
                <a:gd name="connsiteY4" fmla="*/ 0 h 461130"/>
                <a:gd name="connsiteX0" fmla="*/ 0 w 643378"/>
                <a:gd name="connsiteY0" fmla="*/ 0 h 492086"/>
                <a:gd name="connsiteX1" fmla="*/ 643378 w 643378"/>
                <a:gd name="connsiteY1" fmla="*/ 30956 h 492086"/>
                <a:gd name="connsiteX2" fmla="*/ 643378 w 643378"/>
                <a:gd name="connsiteY2" fmla="*/ 492086 h 492086"/>
                <a:gd name="connsiteX3" fmla="*/ 14287 w 643378"/>
                <a:gd name="connsiteY3" fmla="*/ 492086 h 492086"/>
                <a:gd name="connsiteX4" fmla="*/ 0 w 643378"/>
                <a:gd name="connsiteY4" fmla="*/ 0 h 492086"/>
                <a:gd name="connsiteX0" fmla="*/ 0 w 643378"/>
                <a:gd name="connsiteY0" fmla="*/ 0 h 513517"/>
                <a:gd name="connsiteX1" fmla="*/ 643378 w 643378"/>
                <a:gd name="connsiteY1" fmla="*/ 30956 h 513517"/>
                <a:gd name="connsiteX2" fmla="*/ 643378 w 643378"/>
                <a:gd name="connsiteY2" fmla="*/ 492086 h 513517"/>
                <a:gd name="connsiteX3" fmla="*/ 16668 w 643378"/>
                <a:gd name="connsiteY3" fmla="*/ 513517 h 513517"/>
                <a:gd name="connsiteX4" fmla="*/ 0 w 643378"/>
                <a:gd name="connsiteY4" fmla="*/ 0 h 513517"/>
                <a:gd name="connsiteX0" fmla="*/ 0 w 643378"/>
                <a:gd name="connsiteY0" fmla="*/ 0 h 513517"/>
                <a:gd name="connsiteX1" fmla="*/ 643378 w 643378"/>
                <a:gd name="connsiteY1" fmla="*/ 30956 h 513517"/>
                <a:gd name="connsiteX2" fmla="*/ 626709 w 643378"/>
                <a:gd name="connsiteY2" fmla="*/ 470654 h 513517"/>
                <a:gd name="connsiteX3" fmla="*/ 16668 w 643378"/>
                <a:gd name="connsiteY3" fmla="*/ 513517 h 513517"/>
                <a:gd name="connsiteX4" fmla="*/ 0 w 643378"/>
                <a:gd name="connsiteY4" fmla="*/ 0 h 513517"/>
                <a:gd name="connsiteX0" fmla="*/ 0 w 643378"/>
                <a:gd name="connsiteY0" fmla="*/ 0 h 513517"/>
                <a:gd name="connsiteX1" fmla="*/ 643378 w 643378"/>
                <a:gd name="connsiteY1" fmla="*/ 30956 h 513517"/>
                <a:gd name="connsiteX2" fmla="*/ 621947 w 643378"/>
                <a:gd name="connsiteY2" fmla="*/ 446842 h 513517"/>
                <a:gd name="connsiteX3" fmla="*/ 16668 w 643378"/>
                <a:gd name="connsiteY3" fmla="*/ 513517 h 513517"/>
                <a:gd name="connsiteX4" fmla="*/ 0 w 643378"/>
                <a:gd name="connsiteY4" fmla="*/ 0 h 513517"/>
                <a:gd name="connsiteX0" fmla="*/ 0 w 636234"/>
                <a:gd name="connsiteY0" fmla="*/ 0 h 513517"/>
                <a:gd name="connsiteX1" fmla="*/ 636234 w 636234"/>
                <a:gd name="connsiteY1" fmla="*/ 40481 h 513517"/>
                <a:gd name="connsiteX2" fmla="*/ 621947 w 636234"/>
                <a:gd name="connsiteY2" fmla="*/ 446842 h 513517"/>
                <a:gd name="connsiteX3" fmla="*/ 16668 w 636234"/>
                <a:gd name="connsiteY3" fmla="*/ 513517 h 513517"/>
                <a:gd name="connsiteX4" fmla="*/ 0 w 636234"/>
                <a:gd name="connsiteY4" fmla="*/ 0 h 513517"/>
                <a:gd name="connsiteX0" fmla="*/ 7144 w 643378"/>
                <a:gd name="connsiteY0" fmla="*/ 0 h 513517"/>
                <a:gd name="connsiteX1" fmla="*/ 643378 w 643378"/>
                <a:gd name="connsiteY1" fmla="*/ 40481 h 513517"/>
                <a:gd name="connsiteX2" fmla="*/ 629091 w 643378"/>
                <a:gd name="connsiteY2" fmla="*/ 446842 h 513517"/>
                <a:gd name="connsiteX3" fmla="*/ 0 w 643378"/>
                <a:gd name="connsiteY3" fmla="*/ 513517 h 513517"/>
                <a:gd name="connsiteX4" fmla="*/ 7144 w 643378"/>
                <a:gd name="connsiteY4" fmla="*/ 0 h 513517"/>
                <a:gd name="connsiteX0" fmla="*/ 7144 w 648141"/>
                <a:gd name="connsiteY0" fmla="*/ 0 h 513517"/>
                <a:gd name="connsiteX1" fmla="*/ 648141 w 648141"/>
                <a:gd name="connsiteY1" fmla="*/ 23812 h 513517"/>
                <a:gd name="connsiteX2" fmla="*/ 629091 w 648141"/>
                <a:gd name="connsiteY2" fmla="*/ 446842 h 513517"/>
                <a:gd name="connsiteX3" fmla="*/ 0 w 648141"/>
                <a:gd name="connsiteY3" fmla="*/ 513517 h 513517"/>
                <a:gd name="connsiteX4" fmla="*/ 7144 w 648141"/>
                <a:gd name="connsiteY4" fmla="*/ 0 h 513517"/>
                <a:gd name="connsiteX0" fmla="*/ 7144 w 648141"/>
                <a:gd name="connsiteY0" fmla="*/ 0 h 513517"/>
                <a:gd name="connsiteX1" fmla="*/ 648141 w 648141"/>
                <a:gd name="connsiteY1" fmla="*/ 23812 h 513517"/>
                <a:gd name="connsiteX2" fmla="*/ 643379 w 648141"/>
                <a:gd name="connsiteY2" fmla="*/ 477798 h 513517"/>
                <a:gd name="connsiteX3" fmla="*/ 0 w 648141"/>
                <a:gd name="connsiteY3" fmla="*/ 513517 h 513517"/>
                <a:gd name="connsiteX4" fmla="*/ 7144 w 648141"/>
                <a:gd name="connsiteY4" fmla="*/ 0 h 513517"/>
                <a:gd name="connsiteX0" fmla="*/ 0 w 648141"/>
                <a:gd name="connsiteY0" fmla="*/ 0 h 523042"/>
                <a:gd name="connsiteX1" fmla="*/ 648141 w 648141"/>
                <a:gd name="connsiteY1" fmla="*/ 33337 h 523042"/>
                <a:gd name="connsiteX2" fmla="*/ 643379 w 648141"/>
                <a:gd name="connsiteY2" fmla="*/ 487323 h 523042"/>
                <a:gd name="connsiteX3" fmla="*/ 0 w 648141"/>
                <a:gd name="connsiteY3" fmla="*/ 523042 h 523042"/>
                <a:gd name="connsiteX4" fmla="*/ 0 w 648141"/>
                <a:gd name="connsiteY4" fmla="*/ 0 h 523042"/>
                <a:gd name="connsiteX0" fmla="*/ 0 w 655285"/>
                <a:gd name="connsiteY0" fmla="*/ 0 h 523042"/>
                <a:gd name="connsiteX1" fmla="*/ 655285 w 655285"/>
                <a:gd name="connsiteY1" fmla="*/ 33337 h 523042"/>
                <a:gd name="connsiteX2" fmla="*/ 650523 w 655285"/>
                <a:gd name="connsiteY2" fmla="*/ 487323 h 523042"/>
                <a:gd name="connsiteX3" fmla="*/ 7144 w 655285"/>
                <a:gd name="connsiteY3" fmla="*/ 523042 h 523042"/>
                <a:gd name="connsiteX4" fmla="*/ 0 w 655285"/>
                <a:gd name="connsiteY4" fmla="*/ 0 h 52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55285" h="523042">
                  <a:moveTo>
                    <a:pt x="0" y="0"/>
                  </a:moveTo>
                  <a:lnTo>
                    <a:pt x="655285" y="33337"/>
                  </a:lnTo>
                  <a:cubicBezTo>
                    <a:pt x="653698" y="184666"/>
                    <a:pt x="652110" y="335994"/>
                    <a:pt x="650523" y="487323"/>
                  </a:cubicBezTo>
                  <a:lnTo>
                    <a:pt x="7144" y="523042"/>
                  </a:lnTo>
                  <a:cubicBezTo>
                    <a:pt x="4763" y="348695"/>
                    <a:pt x="2381" y="174347"/>
                    <a:pt x="0" y="0"/>
                  </a:cubicBezTo>
                  <a:close/>
                </a:path>
              </a:pathLst>
            </a:custGeom>
            <a:blipFill>
              <a:blip r:embed="rId7"/>
              <a:stretch>
                <a:fillRect/>
              </a:stretch>
            </a:blipFill>
            <a:ln>
              <a:noFill/>
            </a:ln>
          </p:spPr>
          <p:style>
            <a:lnRef idx="0">
              <a:schemeClr val="accent6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rtlCol="0" anchor="ctr"/>
            <a:lstStyle/>
            <a:p>
              <a:pPr algn="l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270903899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B0C759FA-D130-7FEC-0C45-405F85B05DAC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950" y="855662"/>
            <a:ext cx="4762500" cy="4762500"/>
          </a:xfrm>
          <a:noFill/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4947AAE-400B-61D8-AA07-88C45865B5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EtherTRAK</a:t>
            </a:r>
            <a:r>
              <a:rPr lang="en-US" altLang="en-US" dirty="0">
                <a:latin typeface="Abadi" panose="020B0604020104020204" pitchFamily="34" charset="0"/>
              </a:rPr>
              <a:t>®</a:t>
            </a:r>
            <a:r>
              <a:rPr lang="en-US" altLang="en-US" dirty="0"/>
              <a:t>-2</a:t>
            </a:r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4E9B9F-DA5A-3355-AEDF-EC0144C22D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en-US" dirty="0"/>
              <a:t>Software Featur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669DC3-24CF-1C91-01C1-65BDF83E46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en-US" sz="1600" b="1" dirty="0"/>
              <a:t>Ethernet Flexibility – 2 Port Switch</a:t>
            </a:r>
          </a:p>
          <a:p>
            <a:r>
              <a:rPr lang="en-US" altLang="en-US" sz="1600" b="1" dirty="0"/>
              <a:t>Fast I/O Operation</a:t>
            </a:r>
          </a:p>
          <a:p>
            <a:r>
              <a:rPr lang="en-US" altLang="en-US" sz="1600" b="1" dirty="0"/>
              <a:t>Peer-to-peer transfers and Ethernet to RS485 Passthru</a:t>
            </a:r>
          </a:p>
          <a:p>
            <a:r>
              <a:rPr lang="en-US" altLang="en-US" sz="1600" b="1" dirty="0"/>
              <a:t>Security</a:t>
            </a:r>
          </a:p>
          <a:p>
            <a:pPr lvl="1"/>
            <a:r>
              <a:rPr lang="en-US" altLang="en-US" sz="1400" dirty="0"/>
              <a:t>Limit access to specific devices</a:t>
            </a:r>
          </a:p>
          <a:p>
            <a:r>
              <a:rPr lang="en-US" altLang="en-US" sz="1600" b="1" dirty="0"/>
              <a:t>Advanced Diagnostics</a:t>
            </a:r>
          </a:p>
          <a:p>
            <a:pPr lvl="1"/>
            <a:r>
              <a:rPr lang="en-US" altLang="en-US" sz="1400" dirty="0"/>
              <a:t>Watchdogs</a:t>
            </a:r>
          </a:p>
          <a:p>
            <a:pPr lvl="1"/>
            <a:r>
              <a:rPr lang="en-US" altLang="en-US" sz="1400" dirty="0"/>
              <a:t>Module and network health</a:t>
            </a:r>
          </a:p>
        </p:txBody>
      </p:sp>
    </p:spTree>
    <p:extLst>
      <p:ext uri="{BB962C8B-B14F-4D97-AF65-F5344CB8AC3E}">
        <p14:creationId xmlns:p14="http://schemas.microsoft.com/office/powerpoint/2010/main" val="41452996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C3C106-27AF-2AF4-BA4C-626A8A391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EtherTRAK</a:t>
            </a:r>
            <a:r>
              <a:rPr lang="en-US" altLang="en-US" dirty="0">
                <a:latin typeface="Abadi" panose="020B0604020104020204" pitchFamily="34" charset="0"/>
              </a:rPr>
              <a:t>®</a:t>
            </a:r>
            <a:r>
              <a:rPr lang="en-US" altLang="en-US" dirty="0"/>
              <a:t>-2 Order Guide</a:t>
            </a:r>
            <a:endParaRPr lang="en-IN" dirty="0"/>
          </a:p>
        </p:txBody>
      </p:sp>
      <p:graphicFrame>
        <p:nvGraphicFramePr>
          <p:cNvPr id="5" name="Group 361">
            <a:extLst>
              <a:ext uri="{FF2B5EF4-FFF2-40B4-BE49-F238E27FC236}">
                <a16:creationId xmlns:a16="http://schemas.microsoft.com/office/drawing/2014/main" id="{660F1B60-94E3-BE31-0C8B-C4ED783981F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6852722"/>
              </p:ext>
            </p:extLst>
          </p:nvPr>
        </p:nvGraphicFramePr>
        <p:xfrm>
          <a:off x="609600" y="857785"/>
          <a:ext cx="10972800" cy="5431763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648048">
                  <a:extLst>
                    <a:ext uri="{9D8B030D-6E8A-4147-A177-3AD203B41FA5}">
                      <a16:colId xmlns:a16="http://schemas.microsoft.com/office/drawing/2014/main" val="2148305475"/>
                    </a:ext>
                  </a:extLst>
                </a:gridCol>
                <a:gridCol w="6405700">
                  <a:extLst>
                    <a:ext uri="{9D8B030D-6E8A-4147-A177-3AD203B41FA5}">
                      <a16:colId xmlns:a16="http://schemas.microsoft.com/office/drawing/2014/main" val="274627476"/>
                    </a:ext>
                  </a:extLst>
                </a:gridCol>
                <a:gridCol w="729763">
                  <a:extLst>
                    <a:ext uri="{9D8B030D-6E8A-4147-A177-3AD203B41FA5}">
                      <a16:colId xmlns:a16="http://schemas.microsoft.com/office/drawing/2014/main" val="2640761707"/>
                    </a:ext>
                  </a:extLst>
                </a:gridCol>
                <a:gridCol w="827065">
                  <a:extLst>
                    <a:ext uri="{9D8B030D-6E8A-4147-A177-3AD203B41FA5}">
                      <a16:colId xmlns:a16="http://schemas.microsoft.com/office/drawing/2014/main" val="2654426853"/>
                    </a:ext>
                  </a:extLst>
                </a:gridCol>
                <a:gridCol w="632461">
                  <a:extLst>
                    <a:ext uri="{9D8B030D-6E8A-4147-A177-3AD203B41FA5}">
                      <a16:colId xmlns:a16="http://schemas.microsoft.com/office/drawing/2014/main" val="2731613091"/>
                    </a:ext>
                  </a:extLst>
                </a:gridCol>
                <a:gridCol w="729763">
                  <a:extLst>
                    <a:ext uri="{9D8B030D-6E8A-4147-A177-3AD203B41FA5}">
                      <a16:colId xmlns:a16="http://schemas.microsoft.com/office/drawing/2014/main" val="4093919052"/>
                    </a:ext>
                  </a:extLst>
                </a:gridCol>
              </a:tblGrid>
              <a:tr h="300201">
                <a:tc gridSpan="2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EtherTRAK-2 Ethernet I/O</a:t>
                      </a: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I/O Count</a:t>
                      </a: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982554"/>
                  </a:ext>
                </a:extLst>
              </a:tr>
              <a:tr h="30020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Part Number</a:t>
                      </a: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Description</a:t>
                      </a: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DI</a:t>
                      </a: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AI</a:t>
                      </a: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DO</a:t>
                      </a: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12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Lato" panose="020F0502020204030203" pitchFamily="34" charset="0"/>
                        </a:rPr>
                        <a:t>AO</a:t>
                      </a:r>
                      <a:endParaRPr kumimoji="0" lang="en-US" alt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63883"/>
                  </a:ext>
                </a:extLst>
              </a:tr>
              <a:tr h="2501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-MIX20884-D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32 channel Combination I/O with 4 isolated high-speed counters and 4 analog outputs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20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8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8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4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0527619"/>
                  </a:ext>
                </a:extLst>
              </a:tr>
              <a:tr h="250168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 or EB-MIX24880-D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32 channel combination I/O with one isolated input counter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24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8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8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8270501"/>
                  </a:ext>
                </a:extLst>
              </a:tr>
              <a:tr h="271015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 or EB-MIX24882-D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34 channel combination I/O with two analog outputs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24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8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8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2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598968"/>
                  </a:ext>
                </a:extLst>
              </a:tr>
              <a:tr h="250168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 or EB-32DI24-D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32 discrete inputs (10-30 VDC) including 16 multifunction counters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32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9191977"/>
                  </a:ext>
                </a:extLst>
              </a:tr>
              <a:tr h="257117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 or EB-16DI24-D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16 individually isolated discrete inputs (10-30 VDC) with counters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16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7932830"/>
                  </a:ext>
                </a:extLst>
              </a:tr>
              <a:tr h="29881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-16DIAC-D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16 individually isolated discrete inputs (120 VAC nominal, 10-30VDC) with counters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16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390225"/>
                  </a:ext>
                </a:extLst>
              </a:tr>
              <a:tr h="29881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 or EB-32DO24-D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32 discrete outputs (10-30VDC) 0.5 Amp each, 8 Amps total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32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7176675"/>
                  </a:ext>
                </a:extLst>
              </a:tr>
              <a:tr h="29881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 or EB-16DO24-D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16 individually isolated discrete outputs (10-30VDC ) 1 Amp outputs, 16 Amps total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16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0746978"/>
                  </a:ext>
                </a:extLst>
              </a:tr>
              <a:tr h="29881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 or EB-16DORLY-D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16 individually isolated discrete outputs (10-30VDC/VAC Relay) 1 Amp outputs, 16 Amps total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8203243"/>
                  </a:ext>
                </a:extLst>
              </a:tr>
              <a:tr h="29881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 or EB-32AI20M-D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32 analog inputs (4-20mA)16-bit accuracy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32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147420"/>
                  </a:ext>
                </a:extLst>
              </a:tr>
              <a:tr h="29881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 or EB-32AI10V-D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32 analog inputs (0-10VDC)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32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039971"/>
                  </a:ext>
                </a:extLst>
              </a:tr>
              <a:tr h="29881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 or EB-16AI20M-D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16 analog inputs (4-20 mA)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16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4757875"/>
                  </a:ext>
                </a:extLst>
              </a:tr>
              <a:tr h="29881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 or EB-8AO20M-D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8 analog outputs (4-20 mA)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8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1214385"/>
                  </a:ext>
                </a:extLst>
              </a:tr>
              <a:tr h="29881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 or EB-16AI-8AO-D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24 channel combination, 16 analog inputs 4-20 mA and 8 analog outputs (4-20 mA)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16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7152129"/>
                  </a:ext>
                </a:extLst>
              </a:tr>
              <a:tr h="29881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 or EB-16ISO20M-D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16 individually isolated analog inputs (4-20 mA)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16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2011273"/>
                  </a:ext>
                </a:extLst>
              </a:tr>
              <a:tr h="298811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 or EB-16ISOTC-D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16 individually isolated analog inputs (thermocouple and +/-250mV ) with J, K, E, R, T, C, N, S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16TC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3276041"/>
                  </a:ext>
                </a:extLst>
              </a:tr>
              <a:tr h="265804"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E2 or EB-10RTD-D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10 analog inputs (100 Ohm platinum RTD), range is -200 to 850o C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10RTD</a:t>
                      </a:r>
                      <a:endParaRPr kumimoji="0" lang="en-US" altLang="en-US" sz="9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50000"/>
                        </a:spcBef>
                        <a:buClr>
                          <a:schemeClr val="accent1"/>
                        </a:buClr>
                        <a:defRPr sz="20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1pPr>
                      <a:lvl2pPr marL="33655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2pPr>
                      <a:lvl3pPr marL="682625">
                        <a:spcBef>
                          <a:spcPct val="20000"/>
                        </a:spcBef>
                        <a:buSzPct val="95000"/>
                        <a:buFont typeface="Arial" panose="020B0604020202020204" pitchFamily="34" charset="0"/>
                        <a:defRPr sz="1500" i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3pPr>
                      <a:lvl4pPr marL="12557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4pPr>
                      <a:lvl5pPr marL="1598613">
                        <a:spcBef>
                          <a:spcPct val="20000"/>
                        </a:spcBef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5pPr>
                      <a:lvl6pPr marL="20558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6pPr>
                      <a:lvl7pPr marL="25130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7pPr>
                      <a:lvl8pPr marL="29702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8pPr>
                      <a:lvl9pPr marL="3427413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5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en-US" sz="900" b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Lato" panose="020F0502020204030203" pitchFamily="34" charset="0"/>
                        </a:rPr>
                        <a:t>-</a:t>
                      </a:r>
                      <a:endParaRPr kumimoji="0" lang="en-US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Lato" panose="020F0502020204030203" pitchFamily="34" charset="0"/>
                        <a:ea typeface="MS PGothic" panose="020B0600070205080204" pitchFamily="34" charset="-128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86940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565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4457C7-51E9-03F0-A356-9A6457A3B9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7" y="920236"/>
            <a:ext cx="3902227" cy="346589"/>
          </a:xfrm>
        </p:spPr>
        <p:txBody>
          <a:bodyPr/>
          <a:lstStyle/>
          <a:p>
            <a:r>
              <a:rPr lang="en-US" dirty="0"/>
              <a:t>Industry Landscap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74F727-D2E0-FB5C-DA6F-0CC1CBAC5749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606775" y="375105"/>
            <a:ext cx="3472693" cy="595739"/>
          </a:xfrm>
        </p:spPr>
        <p:txBody>
          <a:bodyPr/>
          <a:lstStyle/>
          <a:p>
            <a:r>
              <a:rPr lang="en-US" dirty="0"/>
              <a:t>RTU and I/O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EEBC552-C050-3CD8-8233-2171929A7F72}"/>
              </a:ext>
            </a:extLst>
          </p:cNvPr>
          <p:cNvSpPr/>
          <p:nvPr/>
        </p:nvSpPr>
        <p:spPr>
          <a:xfrm>
            <a:off x="606774" y="1447800"/>
            <a:ext cx="5466427" cy="2232025"/>
          </a:xfrm>
          <a:prstGeom prst="rect">
            <a:avLst/>
          </a:prstGeom>
          <a:solidFill>
            <a:srgbClr val="BED1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7662DA5-02EC-1E45-34B4-CF1B91AC8AF4}"/>
              </a:ext>
            </a:extLst>
          </p:cNvPr>
          <p:cNvSpPr/>
          <p:nvPr/>
        </p:nvSpPr>
        <p:spPr>
          <a:xfrm>
            <a:off x="606774" y="3860800"/>
            <a:ext cx="5466427" cy="2232025"/>
          </a:xfrm>
          <a:prstGeom prst="rect">
            <a:avLst/>
          </a:prstGeom>
          <a:solidFill>
            <a:srgbClr val="BED1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B20A04E-44F2-619C-B40C-AC216E8DF228}"/>
              </a:ext>
            </a:extLst>
          </p:cNvPr>
          <p:cNvSpPr/>
          <p:nvPr/>
        </p:nvSpPr>
        <p:spPr>
          <a:xfrm>
            <a:off x="6226525" y="1447800"/>
            <a:ext cx="5355875" cy="2232025"/>
          </a:xfrm>
          <a:prstGeom prst="rect">
            <a:avLst/>
          </a:prstGeom>
          <a:solidFill>
            <a:srgbClr val="BED1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E5B9D97-0ED7-1D69-7674-25642379EBC4}"/>
              </a:ext>
            </a:extLst>
          </p:cNvPr>
          <p:cNvSpPr/>
          <p:nvPr/>
        </p:nvSpPr>
        <p:spPr>
          <a:xfrm>
            <a:off x="6226525" y="3860800"/>
            <a:ext cx="5355875" cy="2232025"/>
          </a:xfrm>
          <a:prstGeom prst="rect">
            <a:avLst/>
          </a:prstGeom>
          <a:solidFill>
            <a:srgbClr val="BED1E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34FB1F6B-803C-3E71-EAC2-C1AE29BCB4FD}"/>
              </a:ext>
            </a:extLst>
          </p:cNvPr>
          <p:cNvSpPr txBox="1">
            <a:spLocks noChangeArrowheads="1"/>
          </p:cNvSpPr>
          <p:nvPr/>
        </p:nvSpPr>
        <p:spPr>
          <a:xfrm>
            <a:off x="2990850" y="1733550"/>
            <a:ext cx="2949924" cy="169545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30000"/>
              </a:spcBef>
              <a:buNone/>
            </a:pPr>
            <a:r>
              <a:rPr lang="en-US" sz="1600" b="1" dirty="0">
                <a:solidFill>
                  <a:schemeClr val="tx2"/>
                </a:solidFill>
                <a:latin typeface="Lato" panose="020F0502020204030203" pitchFamily="34" charset="0"/>
              </a:rPr>
              <a:t>Oil</a:t>
            </a:r>
            <a:r>
              <a:rPr lang="en-US" sz="1600" dirty="0">
                <a:solidFill>
                  <a:schemeClr val="tx2"/>
                </a:solidFill>
                <a:latin typeface="Lato" panose="020F0502020204030203" pitchFamily="34" charset="0"/>
              </a:rPr>
              <a:t> </a:t>
            </a:r>
            <a:r>
              <a:rPr lang="en-US" sz="1600" b="1" dirty="0">
                <a:solidFill>
                  <a:schemeClr val="tx2"/>
                </a:solidFill>
                <a:latin typeface="Lato" panose="020F0502020204030203" pitchFamily="34" charset="0"/>
              </a:rPr>
              <a:t>&amp; Gas</a:t>
            </a:r>
          </a:p>
          <a:p>
            <a:pPr marL="0" indent="0">
              <a:spcBef>
                <a:spcPct val="30000"/>
              </a:spcBef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Compressor Stations</a:t>
            </a:r>
          </a:p>
          <a:p>
            <a:pPr marL="0" indent="0">
              <a:spcBef>
                <a:spcPct val="30000"/>
              </a:spcBef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Wellhead Monitoring &amp; Control</a:t>
            </a:r>
          </a:p>
          <a:p>
            <a:pPr marL="0" indent="0">
              <a:spcBef>
                <a:spcPct val="30000"/>
              </a:spcBef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Drilling &amp; Fracturing</a:t>
            </a:r>
          </a:p>
          <a:p>
            <a:pPr marL="0" indent="0">
              <a:spcBef>
                <a:spcPct val="30000"/>
              </a:spcBef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Offshore Platforms</a:t>
            </a:r>
          </a:p>
          <a:p>
            <a:pPr marL="0" indent="0">
              <a:spcBef>
                <a:spcPct val="30000"/>
              </a:spcBef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Shipboard Monitoring</a:t>
            </a:r>
            <a:endParaRPr lang="en-US" altLang="en-US" sz="1600" dirty="0">
              <a:solidFill>
                <a:schemeClr val="accent2">
                  <a:lumMod val="50000"/>
                </a:schemeClr>
              </a:solidFill>
              <a:latin typeface="Lato" panose="020F0502020204030203" pitchFamily="34" charset="0"/>
            </a:endParaRPr>
          </a:p>
          <a:p>
            <a:pPr marL="0" indent="0">
              <a:spcBef>
                <a:spcPct val="30000"/>
              </a:spcBef>
              <a:buSzPct val="80000"/>
              <a:buNone/>
            </a:pPr>
            <a:endParaRPr lang="en-US" altLang="en-US" sz="1400" dirty="0">
              <a:solidFill>
                <a:schemeClr val="accent2">
                  <a:lumMod val="50000"/>
                </a:schemeClr>
              </a:solidFill>
              <a:latin typeface="Lato" panose="020F0502020204030203" pitchFamily="34" charset="0"/>
            </a:endParaRP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B2A602B0-4E01-D3CA-D56B-389F727F0439}"/>
              </a:ext>
            </a:extLst>
          </p:cNvPr>
          <p:cNvSpPr txBox="1">
            <a:spLocks noChangeArrowheads="1"/>
          </p:cNvSpPr>
          <p:nvPr/>
        </p:nvSpPr>
        <p:spPr>
          <a:xfrm>
            <a:off x="2990850" y="4156781"/>
            <a:ext cx="3033142" cy="1685219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00"/>
              </a:spcBef>
              <a:buNone/>
            </a:pPr>
            <a:r>
              <a:rPr lang="en-US" sz="1600" b="1" dirty="0">
                <a:solidFill>
                  <a:schemeClr val="tx2"/>
                </a:solidFill>
                <a:latin typeface="Lato" panose="020F0502020204030203" pitchFamily="34" charset="0"/>
              </a:rPr>
              <a:t>Water, Wastewater</a:t>
            </a:r>
            <a:endParaRPr lang="en-US" altLang="en-US" sz="1600" dirty="0">
              <a:solidFill>
                <a:schemeClr val="tx2"/>
              </a:solidFill>
              <a:latin typeface="Lato" panose="020F0502020204030203" pitchFamily="34" charset="0"/>
            </a:endParaRPr>
          </a:p>
          <a:p>
            <a:pPr marL="0" indent="0">
              <a:spcBef>
                <a:spcPts val="400"/>
              </a:spcBef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Water Treatment</a:t>
            </a:r>
          </a:p>
          <a:p>
            <a:pPr marL="0" indent="0">
              <a:spcBef>
                <a:spcPts val="400"/>
              </a:spcBef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Well, Lift Station, Pump &amp; Tank Control</a:t>
            </a:r>
          </a:p>
          <a:p>
            <a:pPr marL="0" indent="0">
              <a:spcBef>
                <a:spcPts val="400"/>
              </a:spcBef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Chemical Injection</a:t>
            </a:r>
          </a:p>
        </p:txBody>
      </p:sp>
      <p:sp>
        <p:nvSpPr>
          <p:cNvPr id="15" name="Rectangle 4">
            <a:extLst>
              <a:ext uri="{FF2B5EF4-FFF2-40B4-BE49-F238E27FC236}">
                <a16:creationId xmlns:a16="http://schemas.microsoft.com/office/drawing/2014/main" id="{EA1ACFD7-856A-47F8-D73B-278BFE8E8601}"/>
              </a:ext>
            </a:extLst>
          </p:cNvPr>
          <p:cNvSpPr txBox="1">
            <a:spLocks noChangeArrowheads="1"/>
          </p:cNvSpPr>
          <p:nvPr/>
        </p:nvSpPr>
        <p:spPr>
          <a:xfrm>
            <a:off x="8610597" y="1733550"/>
            <a:ext cx="2644602" cy="169545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chemeClr val="tx2"/>
                </a:solidFill>
                <a:latin typeface="Lato" panose="020F0502020204030203" pitchFamily="34" charset="0"/>
              </a:rPr>
              <a:t>Power &amp; Energy</a:t>
            </a:r>
            <a:endParaRPr lang="en-US" altLang="en-US" sz="1600" b="1" dirty="0">
              <a:solidFill>
                <a:schemeClr val="tx2"/>
              </a:solidFill>
              <a:latin typeface="Lato" panose="020F0502020204030203" pitchFamily="34" charset="0"/>
            </a:endParaRPr>
          </a:p>
          <a:p>
            <a:pPr marL="0" indent="0"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Generator Control</a:t>
            </a:r>
          </a:p>
          <a:p>
            <a:pPr marL="0" indent="0">
              <a:spcBef>
                <a:spcPct val="30000"/>
              </a:spcBef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Load Management </a:t>
            </a:r>
          </a:p>
          <a:p>
            <a:pPr marL="0" indent="0">
              <a:spcBef>
                <a:spcPct val="30000"/>
              </a:spcBef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Transmission &amp; Distribution</a:t>
            </a:r>
          </a:p>
          <a:p>
            <a:pPr marL="0" indent="0">
              <a:spcBef>
                <a:spcPct val="30000"/>
              </a:spcBef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Solar Tracking</a:t>
            </a:r>
          </a:p>
        </p:txBody>
      </p:sp>
      <p:sp>
        <p:nvSpPr>
          <p:cNvPr id="16" name="Rectangle 4">
            <a:extLst>
              <a:ext uri="{FF2B5EF4-FFF2-40B4-BE49-F238E27FC236}">
                <a16:creationId xmlns:a16="http://schemas.microsoft.com/office/drawing/2014/main" id="{BD5FB9F3-D3AC-D1D3-B845-6FBA595DA29E}"/>
              </a:ext>
            </a:extLst>
          </p:cNvPr>
          <p:cNvSpPr txBox="1">
            <a:spLocks noChangeArrowheads="1"/>
          </p:cNvSpPr>
          <p:nvPr/>
        </p:nvSpPr>
        <p:spPr>
          <a:xfrm>
            <a:off x="8610597" y="4156781"/>
            <a:ext cx="2971800" cy="161275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0000"/>
              </a:spcBef>
              <a:buNone/>
            </a:pPr>
            <a:r>
              <a:rPr lang="en-US" sz="1600" b="1" dirty="0">
                <a:solidFill>
                  <a:schemeClr val="tx2"/>
                </a:solidFill>
                <a:latin typeface="Lato" panose="020F0502020204030203" pitchFamily="34" charset="0"/>
              </a:rPr>
              <a:t>Process Control</a:t>
            </a:r>
            <a:endParaRPr lang="en-US" altLang="en-US" sz="1600" dirty="0">
              <a:solidFill>
                <a:schemeClr val="tx2"/>
              </a:solidFill>
              <a:latin typeface="Lato" panose="020F0502020204030203" pitchFamily="34" charset="0"/>
            </a:endParaRPr>
          </a:p>
          <a:p>
            <a:pPr marL="0" indent="0">
              <a:spcBef>
                <a:spcPct val="20000"/>
              </a:spcBef>
              <a:buClr>
                <a:schemeClr val="tx2"/>
              </a:buClr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Pollution Control</a:t>
            </a:r>
          </a:p>
          <a:p>
            <a:pPr marL="0" indent="0">
              <a:spcBef>
                <a:spcPct val="20000"/>
              </a:spcBef>
              <a:buClr>
                <a:schemeClr val="tx2"/>
              </a:buClr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Boiler Control</a:t>
            </a:r>
          </a:p>
          <a:p>
            <a:pPr marL="0" indent="0">
              <a:spcBef>
                <a:spcPct val="20000"/>
              </a:spcBef>
              <a:buClr>
                <a:schemeClr val="tx2"/>
              </a:buClr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Metal Refining</a:t>
            </a:r>
          </a:p>
          <a:p>
            <a:pPr marL="0" indent="0">
              <a:spcBef>
                <a:spcPct val="20000"/>
              </a:spcBef>
              <a:buClr>
                <a:schemeClr val="tx2"/>
              </a:buClr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Paper Mills</a:t>
            </a:r>
          </a:p>
          <a:p>
            <a:pPr marL="0" indent="0">
              <a:spcBef>
                <a:spcPct val="20000"/>
              </a:spcBef>
              <a:buClr>
                <a:schemeClr val="tx2"/>
              </a:buClr>
              <a:buSzPct val="80000"/>
              <a:buNone/>
            </a:pPr>
            <a:r>
              <a:rPr lang="en-US" altLang="en-US" sz="1400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Cooling Tower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77D91F-4271-70E6-844F-AF97DFBC9E6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68" r="11820" b="2059"/>
          <a:stretch/>
        </p:blipFill>
        <p:spPr>
          <a:xfrm>
            <a:off x="6600824" y="1733550"/>
            <a:ext cx="1724022" cy="174141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ABEF927-A983-F506-BF72-EE3CB003566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03" b="11103"/>
          <a:stretch/>
        </p:blipFill>
        <p:spPr>
          <a:xfrm>
            <a:off x="936801" y="1693105"/>
            <a:ext cx="1724022" cy="173589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A69BE03B-1C69-6E94-42F1-ECC3A550DE7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36" t="3215" r="27224" b="9943"/>
          <a:stretch/>
        </p:blipFill>
        <p:spPr>
          <a:xfrm>
            <a:off x="936801" y="4100586"/>
            <a:ext cx="1724022" cy="1741414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6FDF96B-49AA-A792-5055-46F1A31570D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64" b="10964"/>
          <a:stretch/>
        </p:blipFill>
        <p:spPr>
          <a:xfrm>
            <a:off x="6600822" y="4100587"/>
            <a:ext cx="1724024" cy="1741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79717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85DEB1-21C6-C3F9-787B-38A67B7B0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-IPm-8460, EtherTRAK-2 I/O, Graphit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97091-10AF-EEF4-6A31-962A55BC78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Gas Compression Operation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DF35C3BC-3F58-6583-093E-DA6BC090F9B3}"/>
              </a:ext>
            </a:extLst>
          </p:cNvPr>
          <p:cNvGrpSpPr/>
          <p:nvPr/>
        </p:nvGrpSpPr>
        <p:grpSpPr>
          <a:xfrm>
            <a:off x="617554" y="1313659"/>
            <a:ext cx="10964211" cy="4807961"/>
            <a:chOff x="617554" y="1313659"/>
            <a:chExt cx="10964211" cy="4807961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495BE6D-42C9-EDB3-38A8-01BE2DCD53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404" b="16863"/>
            <a:stretch/>
          </p:blipFill>
          <p:spPr>
            <a:xfrm>
              <a:off x="5645929" y="1313659"/>
              <a:ext cx="5935836" cy="2838641"/>
            </a:xfrm>
            <a:prstGeom prst="rect">
              <a:avLst/>
            </a:prstGeom>
            <a:effectLst>
              <a:softEdge rad="127000"/>
            </a:effectLst>
          </p:spPr>
        </p:pic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AEBAC196-CB50-5243-0E4D-1EBA683BB7F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59343" y="3122367"/>
              <a:ext cx="606030" cy="561840"/>
            </a:xfrm>
            <a:prstGeom prst="rect">
              <a:avLst/>
            </a:prstGeom>
          </p:spPr>
        </p:pic>
        <p:pic>
          <p:nvPicPr>
            <p:cNvPr id="7" name="Picture 6" descr="A close up of a logo&#10;&#10;Description automatically generated">
              <a:extLst>
                <a:ext uri="{FF2B5EF4-FFF2-40B4-BE49-F238E27FC236}">
                  <a16:creationId xmlns:a16="http://schemas.microsoft.com/office/drawing/2014/main" id="{58292AF3-F37D-1D4A-4D22-D6D7D07EEAC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07766" y="2899068"/>
              <a:ext cx="542901" cy="561840"/>
            </a:xfrm>
            <a:prstGeom prst="rect">
              <a:avLst/>
            </a:prstGeom>
          </p:spPr>
        </p:pic>
        <p:pic>
          <p:nvPicPr>
            <p:cNvPr id="8" name="Picture 7" descr="A close up of a device&#10;&#10;Description automatically generated">
              <a:extLst>
                <a:ext uri="{FF2B5EF4-FFF2-40B4-BE49-F238E27FC236}">
                  <a16:creationId xmlns:a16="http://schemas.microsoft.com/office/drawing/2014/main" id="{B1A7D005-CB82-6505-AE7C-98F4FB2CB80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58314" y="2593076"/>
              <a:ext cx="580779" cy="561841"/>
            </a:xfrm>
            <a:prstGeom prst="rect">
              <a:avLst/>
            </a:prstGeom>
          </p:spPr>
        </p:pic>
        <p:pic>
          <p:nvPicPr>
            <p:cNvPr id="9" name="Picture 8" descr="A picture containing object, clock&#10;&#10;Description automatically generated">
              <a:extLst>
                <a:ext uri="{FF2B5EF4-FFF2-40B4-BE49-F238E27FC236}">
                  <a16:creationId xmlns:a16="http://schemas.microsoft.com/office/drawing/2014/main" id="{22F0065D-5067-1286-CB49-75702C122E8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0876" y="2708424"/>
              <a:ext cx="601981" cy="595293"/>
            </a:xfrm>
            <a:prstGeom prst="rect">
              <a:avLst/>
            </a:prstGeom>
          </p:spPr>
        </p:pic>
        <p:pic>
          <p:nvPicPr>
            <p:cNvPr id="11" name="Picture 10" descr="A circuit board&#10;&#10;Description automatically generated">
              <a:extLst>
                <a:ext uri="{FF2B5EF4-FFF2-40B4-BE49-F238E27FC236}">
                  <a16:creationId xmlns:a16="http://schemas.microsoft.com/office/drawing/2014/main" id="{DD57EF55-D3FD-88AD-1BB6-99E5EF394A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023" t="14260" r="34944" b="30053"/>
            <a:stretch/>
          </p:blipFill>
          <p:spPr>
            <a:xfrm>
              <a:off x="2686452" y="1596899"/>
              <a:ext cx="2229190" cy="1885526"/>
            </a:xfrm>
            <a:prstGeom prst="rect">
              <a:avLst/>
            </a:prstGeom>
          </p:spPr>
        </p:pic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9AD92F11-0DAE-2A1D-8013-09942782645B}"/>
                </a:ext>
              </a:extLst>
            </p:cNvPr>
            <p:cNvGrpSpPr/>
            <p:nvPr/>
          </p:nvGrpSpPr>
          <p:grpSpPr>
            <a:xfrm>
              <a:off x="617554" y="4409862"/>
              <a:ext cx="2194045" cy="1559185"/>
              <a:chOff x="617554" y="4409862"/>
              <a:chExt cx="2194045" cy="1559185"/>
            </a:xfrm>
          </p:grpSpPr>
          <p:pic>
            <p:nvPicPr>
              <p:cNvPr id="10" name="Content Placeholder 9" descr="A picture containing graphical user interface&#10;&#10;Description automatically generated">
                <a:extLst>
                  <a:ext uri="{FF2B5EF4-FFF2-40B4-BE49-F238E27FC236}">
                    <a16:creationId xmlns:a16="http://schemas.microsoft.com/office/drawing/2014/main" id="{3A2F6540-CC2A-8F80-056F-E44B157EAD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17554" y="4600896"/>
                <a:ext cx="2094541" cy="1368151"/>
              </a:xfrm>
              <a:prstGeom prst="rect">
                <a:avLst/>
              </a:prstGeom>
            </p:spPr>
          </p:pic>
          <p:pic>
            <p:nvPicPr>
              <p:cNvPr id="12" name="Picture Placeholder 31" descr="A picture containing knife&#10;&#10;Description automatically generated">
                <a:extLst>
                  <a:ext uri="{FF2B5EF4-FFF2-40B4-BE49-F238E27FC236}">
                    <a16:creationId xmlns:a16="http://schemas.microsoft.com/office/drawing/2014/main" id="{A2E5BA8B-34DC-521A-7A05-897B0D3CCA1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9197" t="3465" r="-27650" b="-3465"/>
              <a:stretch/>
            </p:blipFill>
            <p:spPr>
              <a:xfrm>
                <a:off x="2250355" y="4409862"/>
                <a:ext cx="561244" cy="382068"/>
              </a:xfrm>
              <a:prstGeom prst="parallelogram">
                <a:avLst>
                  <a:gd name="adj" fmla="val 0"/>
                </a:avLst>
              </a:prstGeom>
            </p:spPr>
          </p:pic>
        </p:grpSp>
        <p:pic>
          <p:nvPicPr>
            <p:cNvPr id="14" name="Picture 13" descr="A close up of a computer&#10;&#10;Description automatically generated">
              <a:extLst>
                <a:ext uri="{FF2B5EF4-FFF2-40B4-BE49-F238E27FC236}">
                  <a16:creationId xmlns:a16="http://schemas.microsoft.com/office/drawing/2014/main" id="{2C467C46-D622-C697-A018-2625BBF0C3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10000" b="90000" l="10000" r="90000">
                          <a14:foregroundMark x1="20667" y1="15778" x2="21667" y2="22889"/>
                          <a14:foregroundMark x1="21000" y1="23111" x2="21000" y2="38222"/>
                          <a14:foregroundMark x1="20333" y1="38000" x2="20667" y2="46000"/>
                          <a14:foregroundMark x1="21000" y1="47333" x2="21667" y2="70444"/>
                          <a14:foregroundMark x1="21667" y1="70444" x2="22333" y2="71556"/>
                          <a14:foregroundMark x1="40333" y1="52889" x2="39333" y2="20667"/>
                          <a14:foregroundMark x1="39000" y1="18222" x2="38333" y2="14222"/>
                          <a14:foregroundMark x1="38000" y1="13556" x2="37667" y2="13556"/>
                          <a14:foregroundMark x1="39667" y1="13778" x2="40333" y2="13556"/>
                          <a14:foregroundMark x1="38333" y1="14667" x2="21000" y2="14444"/>
                          <a14:foregroundMark x1="36667" y1="14222" x2="33333" y2="13778"/>
                          <a14:foregroundMark x1="21333" y1="13778" x2="20000" y2="13333"/>
                          <a14:foregroundMark x1="42333" y1="18444" x2="46000" y2="18667"/>
                          <a14:foregroundMark x1="47333" y1="18444" x2="69000" y2="18889"/>
                          <a14:foregroundMark x1="65333" y1="18889" x2="71000" y2="18667"/>
                          <a14:foregroundMark x1="61667" y1="18667" x2="67667" y2="18667"/>
                          <a14:foregroundMark x1="61667" y1="18222" x2="64667" y2="18222"/>
                          <a14:foregroundMark x1="71667" y1="18222" x2="81000" y2="18667"/>
                          <a14:foregroundMark x1="41667" y1="17778" x2="63333" y2="18444"/>
                          <a14:foregroundMark x1="83000" y1="20000" x2="83000" y2="275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69" t="12246" r="15567" b="12395"/>
            <a:stretch/>
          </p:blipFill>
          <p:spPr>
            <a:xfrm>
              <a:off x="6560470" y="4325373"/>
              <a:ext cx="936434" cy="1597446"/>
            </a:xfrm>
            <a:prstGeom prst="rect">
              <a:avLst/>
            </a:prstGeom>
          </p:spPr>
        </p:pic>
        <p:pic>
          <p:nvPicPr>
            <p:cNvPr id="15" name="Picture 14" descr="A close up of a computer&#10;&#10;Description automatically generated">
              <a:extLst>
                <a:ext uri="{FF2B5EF4-FFF2-40B4-BE49-F238E27FC236}">
                  <a16:creationId xmlns:a16="http://schemas.microsoft.com/office/drawing/2014/main" id="{3D133247-0158-5D45-36EC-709A584DAD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10000" b="90000" l="10000" r="90000">
                          <a14:foregroundMark x1="20667" y1="15778" x2="21667" y2="22889"/>
                          <a14:foregroundMark x1="21000" y1="23111" x2="21000" y2="38222"/>
                          <a14:foregroundMark x1="20333" y1="38000" x2="20667" y2="46000"/>
                          <a14:foregroundMark x1="21000" y1="47333" x2="21667" y2="70444"/>
                          <a14:foregroundMark x1="21667" y1="70444" x2="22333" y2="71556"/>
                          <a14:foregroundMark x1="40333" y1="52889" x2="39333" y2="20667"/>
                          <a14:foregroundMark x1="39000" y1="18222" x2="38333" y2="14222"/>
                          <a14:foregroundMark x1="38000" y1="13556" x2="37667" y2="13556"/>
                          <a14:foregroundMark x1="39667" y1="13778" x2="40333" y2="13556"/>
                          <a14:foregroundMark x1="38333" y1="14667" x2="21000" y2="14444"/>
                          <a14:foregroundMark x1="36667" y1="14222" x2="33333" y2="13778"/>
                          <a14:foregroundMark x1="21333" y1="13778" x2="20000" y2="13333"/>
                          <a14:foregroundMark x1="42333" y1="18444" x2="46000" y2="18667"/>
                          <a14:foregroundMark x1="47333" y1="18444" x2="69000" y2="18889"/>
                          <a14:foregroundMark x1="65333" y1="18889" x2="71000" y2="18667"/>
                          <a14:foregroundMark x1="61667" y1="18667" x2="67667" y2="18667"/>
                          <a14:foregroundMark x1="61667" y1="18222" x2="64667" y2="18222"/>
                          <a14:foregroundMark x1="71667" y1="18222" x2="81000" y2="18667"/>
                          <a14:foregroundMark x1="41667" y1="17778" x2="63333" y2="18444"/>
                          <a14:foregroundMark x1="83000" y1="20000" x2="83000" y2="275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69" t="12246" r="15567" b="12395"/>
            <a:stretch/>
          </p:blipFill>
          <p:spPr>
            <a:xfrm>
              <a:off x="7564792" y="4325373"/>
              <a:ext cx="936434" cy="1597446"/>
            </a:xfrm>
            <a:prstGeom prst="rect">
              <a:avLst/>
            </a:prstGeom>
          </p:spPr>
        </p:pic>
        <p:pic>
          <p:nvPicPr>
            <p:cNvPr id="16" name="Picture 15" descr="A close up of a computer&#10;&#10;Description automatically generated">
              <a:extLst>
                <a:ext uri="{FF2B5EF4-FFF2-40B4-BE49-F238E27FC236}">
                  <a16:creationId xmlns:a16="http://schemas.microsoft.com/office/drawing/2014/main" id="{754236C3-F930-0FCF-39F3-ECF4633023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10000" b="90000" l="10000" r="90000">
                          <a14:foregroundMark x1="20667" y1="15778" x2="21667" y2="22889"/>
                          <a14:foregroundMark x1="21000" y1="23111" x2="21000" y2="38222"/>
                          <a14:foregroundMark x1="20333" y1="38000" x2="20667" y2="46000"/>
                          <a14:foregroundMark x1="21000" y1="47333" x2="21667" y2="70444"/>
                          <a14:foregroundMark x1="21667" y1="70444" x2="22333" y2="71556"/>
                          <a14:foregroundMark x1="40333" y1="52889" x2="39333" y2="20667"/>
                          <a14:foregroundMark x1="39000" y1="18222" x2="38333" y2="14222"/>
                          <a14:foregroundMark x1="38000" y1="13556" x2="37667" y2="13556"/>
                          <a14:foregroundMark x1="39667" y1="13778" x2="40333" y2="13556"/>
                          <a14:foregroundMark x1="38333" y1="14667" x2="21000" y2="14444"/>
                          <a14:foregroundMark x1="36667" y1="14222" x2="33333" y2="13778"/>
                          <a14:foregroundMark x1="21333" y1="13778" x2="20000" y2="13333"/>
                          <a14:foregroundMark x1="42333" y1="18444" x2="46000" y2="18667"/>
                          <a14:foregroundMark x1="47333" y1="18444" x2="69000" y2="18889"/>
                          <a14:foregroundMark x1="65333" y1="18889" x2="71000" y2="18667"/>
                          <a14:foregroundMark x1="61667" y1="18667" x2="67667" y2="18667"/>
                          <a14:foregroundMark x1="61667" y1="18222" x2="64667" y2="18222"/>
                          <a14:foregroundMark x1="71667" y1="18222" x2="81000" y2="18667"/>
                          <a14:foregroundMark x1="41667" y1="17778" x2="63333" y2="18444"/>
                          <a14:foregroundMark x1="83000" y1="20000" x2="83000" y2="275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69" t="12246" r="15567" b="12395"/>
            <a:stretch/>
          </p:blipFill>
          <p:spPr>
            <a:xfrm>
              <a:off x="8569114" y="4325373"/>
              <a:ext cx="936434" cy="1597446"/>
            </a:xfrm>
            <a:prstGeom prst="rect">
              <a:avLst/>
            </a:prstGeom>
          </p:spPr>
        </p:pic>
        <p:pic>
          <p:nvPicPr>
            <p:cNvPr id="17" name="Picture 16" descr="A close up of a computer&#10;&#10;Description automatically generated">
              <a:extLst>
                <a:ext uri="{FF2B5EF4-FFF2-40B4-BE49-F238E27FC236}">
                  <a16:creationId xmlns:a16="http://schemas.microsoft.com/office/drawing/2014/main" id="{D3A06DD4-F5C9-0C99-902A-DAEA73CD2E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10000" b="90000" l="10000" r="90000">
                          <a14:foregroundMark x1="20667" y1="15778" x2="21667" y2="22889"/>
                          <a14:foregroundMark x1="21000" y1="23111" x2="21000" y2="38222"/>
                          <a14:foregroundMark x1="20333" y1="38000" x2="20667" y2="46000"/>
                          <a14:foregroundMark x1="21000" y1="47333" x2="21667" y2="70444"/>
                          <a14:foregroundMark x1="21667" y1="70444" x2="22333" y2="71556"/>
                          <a14:foregroundMark x1="40333" y1="52889" x2="39333" y2="20667"/>
                          <a14:foregroundMark x1="39000" y1="18222" x2="38333" y2="14222"/>
                          <a14:foregroundMark x1="38000" y1="13556" x2="37667" y2="13556"/>
                          <a14:foregroundMark x1="39667" y1="13778" x2="40333" y2="13556"/>
                          <a14:foregroundMark x1="38333" y1="14667" x2="21000" y2="14444"/>
                          <a14:foregroundMark x1="36667" y1="14222" x2="33333" y2="13778"/>
                          <a14:foregroundMark x1="21333" y1="13778" x2="20000" y2="13333"/>
                          <a14:foregroundMark x1="42333" y1="18444" x2="46000" y2="18667"/>
                          <a14:foregroundMark x1="47333" y1="18444" x2="69000" y2="18889"/>
                          <a14:foregroundMark x1="65333" y1="18889" x2="71000" y2="18667"/>
                          <a14:foregroundMark x1="61667" y1="18667" x2="67667" y2="18667"/>
                          <a14:foregroundMark x1="61667" y1="18222" x2="64667" y2="18222"/>
                          <a14:foregroundMark x1="71667" y1="18222" x2="81000" y2="18667"/>
                          <a14:foregroundMark x1="41667" y1="17778" x2="63333" y2="18444"/>
                          <a14:foregroundMark x1="83000" y1="20000" x2="83000" y2="2755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169" t="12246" r="15567" b="12395"/>
            <a:stretch/>
          </p:blipFill>
          <p:spPr>
            <a:xfrm>
              <a:off x="9600350" y="4325373"/>
              <a:ext cx="936434" cy="1597446"/>
            </a:xfrm>
            <a:prstGeom prst="rect">
              <a:avLst/>
            </a:prstGeom>
          </p:spPr>
        </p:pic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1EF8A8F4-9F27-036C-74F8-E770F904D602}"/>
                </a:ext>
              </a:extLst>
            </p:cNvPr>
            <p:cNvCxnSpPr>
              <a:cxnSpLocks/>
              <a:stCxn id="9" idx="2"/>
            </p:cNvCxnSpPr>
            <p:nvPr/>
          </p:nvCxnSpPr>
          <p:spPr>
            <a:xfrm>
              <a:off x="6891867" y="3303717"/>
              <a:ext cx="68229" cy="1709459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672459C3-4BC8-BCAA-432B-C47E0DAABF83}"/>
                </a:ext>
              </a:extLst>
            </p:cNvPr>
            <p:cNvCxnSpPr>
              <a:cxnSpLocks/>
              <a:stCxn id="6" idx="2"/>
            </p:cNvCxnSpPr>
            <p:nvPr/>
          </p:nvCxnSpPr>
          <p:spPr>
            <a:xfrm>
              <a:off x="7762358" y="3684207"/>
              <a:ext cx="195956" cy="1256961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304F2DE6-E363-9B1D-28D0-6049FAD31214}"/>
                </a:ext>
              </a:extLst>
            </p:cNvPr>
            <p:cNvCxnSpPr>
              <a:cxnSpLocks/>
              <a:stCxn id="8" idx="2"/>
            </p:cNvCxnSpPr>
            <p:nvPr/>
          </p:nvCxnSpPr>
          <p:spPr>
            <a:xfrm>
              <a:off x="8248704" y="3154917"/>
              <a:ext cx="757997" cy="1786251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58F94FCB-1BED-DC39-A86F-18A56D74895D}"/>
                </a:ext>
              </a:extLst>
            </p:cNvPr>
            <p:cNvCxnSpPr>
              <a:cxnSpLocks/>
              <a:stCxn id="7" idx="2"/>
            </p:cNvCxnSpPr>
            <p:nvPr/>
          </p:nvCxnSpPr>
          <p:spPr>
            <a:xfrm>
              <a:off x="9879217" y="3460908"/>
              <a:ext cx="172699" cy="1480260"/>
            </a:xfrm>
            <a:prstGeom prst="line">
              <a:avLst/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40DAC8A9-929C-8D74-560F-F3EC41DA7C8D}"/>
                </a:ext>
              </a:extLst>
            </p:cNvPr>
            <p:cNvCxnSpPr>
              <a:cxnSpLocks/>
            </p:cNvCxnSpPr>
            <p:nvPr/>
          </p:nvCxnSpPr>
          <p:spPr>
            <a:xfrm>
              <a:off x="8209468" y="4266375"/>
              <a:ext cx="805704" cy="241294"/>
            </a:xfrm>
            <a:prstGeom prst="bentConnector3">
              <a:avLst>
                <a:gd name="adj1" fmla="val 100252"/>
              </a:avLst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or: Elbow 38">
              <a:extLst>
                <a:ext uri="{FF2B5EF4-FFF2-40B4-BE49-F238E27FC236}">
                  <a16:creationId xmlns:a16="http://schemas.microsoft.com/office/drawing/2014/main" id="{3439F56A-DC34-7630-1A75-74359B4E4207}"/>
                </a:ext>
              </a:extLst>
            </p:cNvPr>
            <p:cNvCxnSpPr>
              <a:cxnSpLocks/>
            </p:cNvCxnSpPr>
            <p:nvPr/>
          </p:nvCxnSpPr>
          <p:spPr>
            <a:xfrm>
              <a:off x="7199048" y="4266375"/>
              <a:ext cx="810253" cy="245844"/>
            </a:xfrm>
            <a:prstGeom prst="bentConnector3">
              <a:avLst>
                <a:gd name="adj1" fmla="val 100421"/>
              </a:avLst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ctor: Elbow 39">
              <a:extLst>
                <a:ext uri="{FF2B5EF4-FFF2-40B4-BE49-F238E27FC236}">
                  <a16:creationId xmlns:a16="http://schemas.microsoft.com/office/drawing/2014/main" id="{E2686688-8A72-F995-A5EC-5E603E76A3BC}"/>
                </a:ext>
              </a:extLst>
            </p:cNvPr>
            <p:cNvCxnSpPr>
              <a:cxnSpLocks/>
            </p:cNvCxnSpPr>
            <p:nvPr/>
          </p:nvCxnSpPr>
          <p:spPr>
            <a:xfrm>
              <a:off x="9191195" y="4274167"/>
              <a:ext cx="860721" cy="242601"/>
            </a:xfrm>
            <a:prstGeom prst="bentConnector3">
              <a:avLst>
                <a:gd name="adj1" fmla="val 101235"/>
              </a:avLst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ctor: Elbow 40">
              <a:extLst>
                <a:ext uri="{FF2B5EF4-FFF2-40B4-BE49-F238E27FC236}">
                  <a16:creationId xmlns:a16="http://schemas.microsoft.com/office/drawing/2014/main" id="{31258B85-6AD2-D77F-7A36-0641D77C2264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9645150" y="4860629"/>
              <a:ext cx="1839388" cy="666465"/>
            </a:xfrm>
            <a:prstGeom prst="bentConnector3">
              <a:avLst>
                <a:gd name="adj1" fmla="val 40"/>
              </a:avLst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Connector: Elbow 41">
              <a:extLst>
                <a:ext uri="{FF2B5EF4-FFF2-40B4-BE49-F238E27FC236}">
                  <a16:creationId xmlns:a16="http://schemas.microsoft.com/office/drawing/2014/main" id="{46D3EB9D-7E63-B866-8207-E46839EB0489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4655841" y="5445225"/>
              <a:ext cx="6242237" cy="676395"/>
            </a:xfrm>
            <a:prstGeom prst="bentConnector3">
              <a:avLst>
                <a:gd name="adj1" fmla="val 80925"/>
              </a:avLst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onnector: Elbow 61">
              <a:extLst>
                <a:ext uri="{FF2B5EF4-FFF2-40B4-BE49-F238E27FC236}">
                  <a16:creationId xmlns:a16="http://schemas.microsoft.com/office/drawing/2014/main" id="{0C2691E8-852C-481F-9C4C-2E6E3B20AA8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55840" y="4266375"/>
              <a:ext cx="2359780" cy="994726"/>
            </a:xfrm>
            <a:prstGeom prst="bentConnector3">
              <a:avLst>
                <a:gd name="adj1" fmla="val 50000"/>
              </a:avLst>
            </a:prstGeom>
            <a:ln w="38100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86" name="Straight Connector 85">
              <a:extLst>
                <a:ext uri="{FF2B5EF4-FFF2-40B4-BE49-F238E27FC236}">
                  <a16:creationId xmlns:a16="http://schemas.microsoft.com/office/drawing/2014/main" id="{FD64882C-827D-813B-D801-D967DE072AD9}"/>
                </a:ext>
              </a:extLst>
            </p:cNvPr>
            <p:cNvCxnSpPr>
              <a:cxnSpLocks/>
            </p:cNvCxnSpPr>
            <p:nvPr/>
          </p:nvCxnSpPr>
          <p:spPr>
            <a:xfrm>
              <a:off x="7002764" y="4257059"/>
              <a:ext cx="2824" cy="250610"/>
            </a:xfrm>
            <a:prstGeom prst="line">
              <a:avLst/>
            </a:prstGeom>
            <a:ln w="38100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8AEFEFC0-952F-3882-C56C-A804E7491097}"/>
                </a:ext>
              </a:extLst>
            </p:cNvPr>
            <p:cNvCxnSpPr>
              <a:cxnSpLocks/>
            </p:cNvCxnSpPr>
            <p:nvPr/>
          </p:nvCxnSpPr>
          <p:spPr>
            <a:xfrm>
              <a:off x="7203154" y="4257059"/>
              <a:ext cx="2824" cy="250610"/>
            </a:xfrm>
            <a:prstGeom prst="line">
              <a:avLst/>
            </a:prstGeom>
            <a:ln w="38100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96F919D8-4314-C104-FD8E-914A949BE37B}"/>
                </a:ext>
              </a:extLst>
            </p:cNvPr>
            <p:cNvCxnSpPr>
              <a:cxnSpLocks/>
            </p:cNvCxnSpPr>
            <p:nvPr/>
          </p:nvCxnSpPr>
          <p:spPr>
            <a:xfrm>
              <a:off x="8222626" y="4257059"/>
              <a:ext cx="2824" cy="250610"/>
            </a:xfrm>
            <a:prstGeom prst="line">
              <a:avLst/>
            </a:prstGeom>
            <a:ln w="38100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CCF28901-0A92-4AB8-F498-77717B3E8D33}"/>
                </a:ext>
              </a:extLst>
            </p:cNvPr>
            <p:cNvCxnSpPr>
              <a:cxnSpLocks/>
            </p:cNvCxnSpPr>
            <p:nvPr/>
          </p:nvCxnSpPr>
          <p:spPr>
            <a:xfrm>
              <a:off x="9189248" y="4257059"/>
              <a:ext cx="2824" cy="250610"/>
            </a:xfrm>
            <a:prstGeom prst="line">
              <a:avLst/>
            </a:prstGeom>
            <a:ln w="38100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65BDA3E3-6BA2-F576-9B22-5105EFACAB9B}"/>
                </a:ext>
              </a:extLst>
            </p:cNvPr>
            <p:cNvCxnSpPr>
              <a:cxnSpLocks/>
            </p:cNvCxnSpPr>
            <p:nvPr/>
          </p:nvCxnSpPr>
          <p:spPr>
            <a:xfrm>
              <a:off x="10225115" y="4257059"/>
              <a:ext cx="2824" cy="250610"/>
            </a:xfrm>
            <a:prstGeom prst="line">
              <a:avLst/>
            </a:prstGeom>
            <a:ln w="38100"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1AF9B94-B992-6970-2D55-226A2CD8D8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047" t="11837" r="26978" b="11837"/>
            <a:stretch/>
          </p:blipFill>
          <p:spPr>
            <a:xfrm>
              <a:off x="3814834" y="4465173"/>
              <a:ext cx="936434" cy="1554627"/>
            </a:xfrm>
            <a:prstGeom prst="rect">
              <a:avLst/>
            </a:prstGeom>
          </p:spPr>
        </p:pic>
        <p:cxnSp>
          <p:nvCxnSpPr>
            <p:cNvPr id="30" name="Connector: Elbow 29">
              <a:extLst>
                <a:ext uri="{FF2B5EF4-FFF2-40B4-BE49-F238E27FC236}">
                  <a16:creationId xmlns:a16="http://schemas.microsoft.com/office/drawing/2014/main" id="{14E7EC2C-8BB4-FB61-9BF1-1A59EDD65597}"/>
                </a:ext>
              </a:extLst>
            </p:cNvPr>
            <p:cNvCxnSpPr>
              <a:cxnSpLocks/>
            </p:cNvCxnSpPr>
            <p:nvPr/>
          </p:nvCxnSpPr>
          <p:spPr>
            <a:xfrm rot="16200000" flipV="1">
              <a:off x="2563637" y="4194843"/>
              <a:ext cx="2285524" cy="503269"/>
            </a:xfrm>
            <a:prstGeom prst="bentConnector3">
              <a:avLst>
                <a:gd name="adj1" fmla="val 198"/>
              </a:avLst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DAD7A6D3-4672-1E87-54D0-4A5FCEE2554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39616" y="5733256"/>
              <a:ext cx="1318418" cy="0"/>
            </a:xfrm>
            <a:prstGeom prst="line">
              <a:avLst/>
            </a:prstGeom>
            <a:ln w="38100">
              <a:solidFill>
                <a:srgbClr val="B1181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662703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49645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3F5BC5-5521-3FF9-038B-DCEFA68255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roduct Line</a:t>
            </a:r>
          </a:p>
        </p:txBody>
      </p:sp>
    </p:spTree>
    <p:extLst>
      <p:ext uri="{BB962C8B-B14F-4D97-AF65-F5344CB8AC3E}">
        <p14:creationId xmlns:p14="http://schemas.microsoft.com/office/powerpoint/2010/main" val="41175626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3FD418-4669-843A-D712-96A595E83A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8572D9B-17D2-77FC-D990-EA45079F29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4460384"/>
            <a:ext cx="2519806" cy="1574799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Programmable</a:t>
            </a:r>
          </a:p>
          <a:p>
            <a:r>
              <a:rPr lang="en-US" dirty="0"/>
              <a:t>Redundant Operation</a:t>
            </a:r>
          </a:p>
          <a:p>
            <a:r>
              <a:rPr lang="en-US" dirty="0"/>
              <a:t>Datalogg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02AB40-2BA1-622F-7EEC-117D6A730E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duct Li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F0EF9E-B721-20FC-BB29-AE7B09D9C02E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RTU and I/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A4F420-C98C-1F4A-159F-5B24A98A36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27759" y="4460384"/>
            <a:ext cx="2519806" cy="1574799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Programmable</a:t>
            </a:r>
          </a:p>
          <a:p>
            <a:r>
              <a:rPr lang="en-US" dirty="0"/>
              <a:t>Onboard I/O</a:t>
            </a:r>
          </a:p>
          <a:p>
            <a:r>
              <a:rPr lang="en-US" dirty="0"/>
              <a:t>Datalogg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DD3F36F-99D3-BF5A-690A-53440870734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6648" y="1457950"/>
            <a:ext cx="2519806" cy="613230"/>
          </a:xfrm>
          <a:solidFill>
            <a:schemeClr val="tx2"/>
          </a:solidFill>
        </p:spPr>
        <p:txBody>
          <a:bodyPr/>
          <a:lstStyle/>
          <a:p>
            <a:r>
              <a:rPr lang="en-US" b="1" dirty="0"/>
              <a:t>ST-IPm-8460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A906382-1AD3-332F-8FBB-B51DFD4E668F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427759" y="1457950"/>
            <a:ext cx="2519806" cy="61323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VersaTRAK® RTU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VT-mIPm-138\248-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E14A105-CD43-1CAC-B595-8416847B800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272553" y="1457950"/>
            <a:ext cx="2519806" cy="613230"/>
          </a:xfrm>
          <a:solidFill>
            <a:schemeClr val="tx2"/>
          </a:solidFill>
        </p:spPr>
        <p:txBody>
          <a:bodyPr/>
          <a:lstStyle/>
          <a:p>
            <a:r>
              <a:rPr lang="en-US" b="1" dirty="0"/>
              <a:t>Red Lion Workbenc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E284D77-FC4C-5ED5-F9BB-7A9C494C49C5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58330" y="1457950"/>
            <a:ext cx="2519806" cy="613230"/>
          </a:xfrm>
        </p:spPr>
        <p:txBody>
          <a:bodyPr/>
          <a:lstStyle/>
          <a:p>
            <a:r>
              <a:rPr lang="en-US" b="1" dirty="0"/>
              <a:t>EtherTRAK</a:t>
            </a:r>
            <a:r>
              <a:rPr lang="en-US" b="1" dirty="0">
                <a:latin typeface="Abadi" panose="020B0604020104020204" pitchFamily="34" charset="0"/>
              </a:rPr>
              <a:t>® </a:t>
            </a:r>
            <a:r>
              <a:rPr lang="en-US" b="1" dirty="0"/>
              <a:t>-2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0E6A3B1-3B71-FC68-1383-D25289B9F3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3868" y="4460384"/>
            <a:ext cx="2519806" cy="1574799"/>
          </a:xfrm>
        </p:spPr>
        <p:txBody>
          <a:bodyPr/>
          <a:lstStyle/>
          <a:p>
            <a:r>
              <a:rPr lang="en-US" dirty="0"/>
              <a:t>5 Languages</a:t>
            </a:r>
          </a:p>
          <a:p>
            <a:r>
              <a:rPr lang="en-US" dirty="0"/>
              <a:t>Protocols</a:t>
            </a:r>
          </a:p>
          <a:p>
            <a:r>
              <a:rPr lang="en-US" dirty="0"/>
              <a:t>Redundancy</a:t>
            </a:r>
          </a:p>
          <a:p>
            <a:r>
              <a:rPr lang="en-US" dirty="0"/>
              <a:t>Two variable database or one variable databas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E95EEA7-2913-8F5D-1AA2-9203DE29814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8330" y="4460384"/>
            <a:ext cx="2519806" cy="1574799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Three Network Modes</a:t>
            </a:r>
          </a:p>
          <a:p>
            <a:r>
              <a:rPr lang="en-US" dirty="0"/>
              <a:t>Up 34 I/O</a:t>
            </a:r>
          </a:p>
          <a:p>
            <a:r>
              <a:rPr lang="en-US" dirty="0"/>
              <a:t>17 different models</a:t>
            </a:r>
          </a:p>
        </p:txBody>
      </p:sp>
      <p:pic>
        <p:nvPicPr>
          <p:cNvPr id="21" name="Content Placeholder 20">
            <a:extLst>
              <a:ext uri="{FF2B5EF4-FFF2-40B4-BE49-F238E27FC236}">
                <a16:creationId xmlns:a16="http://schemas.microsoft.com/office/drawing/2014/main" id="{84B96782-05F5-7031-3E98-41E15C59B1E1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337" y="2254446"/>
            <a:ext cx="2026176" cy="1352994"/>
          </a:xfrm>
        </p:spPr>
      </p:pic>
      <p:pic>
        <p:nvPicPr>
          <p:cNvPr id="31" name="Content Placeholder 30">
            <a:extLst>
              <a:ext uri="{FF2B5EF4-FFF2-40B4-BE49-F238E27FC236}">
                <a16:creationId xmlns:a16="http://schemas.microsoft.com/office/drawing/2014/main" id="{EE650641-E6B8-A0A0-BEC5-BFD3E692588E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2136" y="2254446"/>
            <a:ext cx="1447800" cy="1447800"/>
          </a:xfrm>
        </p:spPr>
      </p:pic>
      <p:pic>
        <p:nvPicPr>
          <p:cNvPr id="29" name="Content Placeholder 28">
            <a:extLst>
              <a:ext uri="{FF2B5EF4-FFF2-40B4-BE49-F238E27FC236}">
                <a16:creationId xmlns:a16="http://schemas.microsoft.com/office/drawing/2014/main" id="{29C5184A-232B-0EA3-13C5-05FF3CE2786E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7248" y="2254446"/>
            <a:ext cx="1554478" cy="1554478"/>
          </a:xfr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3542581-2E2C-808B-F859-87064153A4FA}"/>
              </a:ext>
            </a:extLst>
          </p:cNvPr>
          <p:cNvSpPr txBox="1"/>
          <p:nvPr/>
        </p:nvSpPr>
        <p:spPr>
          <a:xfrm>
            <a:off x="609600" y="3886017"/>
            <a:ext cx="252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Programmable RTU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2632C35-D0F2-1C13-8B1D-9B912B559729}"/>
              </a:ext>
            </a:extLst>
          </p:cNvPr>
          <p:cNvSpPr txBox="1"/>
          <p:nvPr/>
        </p:nvSpPr>
        <p:spPr>
          <a:xfrm>
            <a:off x="3442757" y="3886017"/>
            <a:ext cx="24898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New Programmable RTU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CB6F928-B9B7-D50E-0F1E-DC2B101D018F}"/>
              </a:ext>
            </a:extLst>
          </p:cNvPr>
          <p:cNvSpPr txBox="1"/>
          <p:nvPr/>
        </p:nvSpPr>
        <p:spPr>
          <a:xfrm>
            <a:off x="6246820" y="3886017"/>
            <a:ext cx="25268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IEC 61131-3 Programming Workbench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F45363A-AF59-0857-730B-FD65A2AD9EF8}"/>
              </a:ext>
            </a:extLst>
          </p:cNvPr>
          <p:cNvSpPr txBox="1"/>
          <p:nvPr/>
        </p:nvSpPr>
        <p:spPr>
          <a:xfrm>
            <a:off x="9072426" y="3886017"/>
            <a:ext cx="252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accent2">
                    <a:lumMod val="50000"/>
                  </a:schemeClr>
                </a:solidFill>
                <a:latin typeface="Lato" panose="020F0502020204030203" pitchFamily="34" charset="0"/>
              </a:rPr>
              <a:t>Dual Ethernet I/O Module</a:t>
            </a:r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E11B8C5F-5C03-8666-A49A-EA8256635C67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63752" y="2334911"/>
            <a:ext cx="1778067" cy="1265164"/>
          </a:xfrm>
        </p:spPr>
      </p:pic>
    </p:spTree>
    <p:extLst>
      <p:ext uri="{BB962C8B-B14F-4D97-AF65-F5344CB8AC3E}">
        <p14:creationId xmlns:p14="http://schemas.microsoft.com/office/powerpoint/2010/main" val="25430974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F1933C-9067-AB45-5830-E2C1C69FC3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E74D77F2-E5D2-5626-B899-2D1B4BC852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5191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11" imgH="311" progId="TCLayout.ActiveDocument.1">
                  <p:embed/>
                </p:oleObj>
              </mc:Choice>
              <mc:Fallback>
                <p:oleObj name="think-cell Slide" r:id="rId3" imgW="311" imgH="31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4D77F2-E5D2-5626-B899-2D1B4BC852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Content Placeholder 19">
            <a:extLst>
              <a:ext uri="{FF2B5EF4-FFF2-40B4-BE49-F238E27FC236}">
                <a16:creationId xmlns:a16="http://schemas.microsoft.com/office/drawing/2014/main" id="{A397ADFA-6207-B120-B95C-A2A28E577DA7}"/>
              </a:ext>
            </a:extLst>
          </p:cNvPr>
          <p:cNvPicPr>
            <a:picLocks noGrp="1" noChangeAspect="1"/>
          </p:cNvPicPr>
          <p:nvPr>
            <p:ph sz="quarter" idx="2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98628" y="2354263"/>
            <a:ext cx="1778067" cy="1265164"/>
          </a:xfr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90C08FA-F1EF-87B6-EAF2-2A414B0B75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4460384"/>
            <a:ext cx="2519806" cy="1574799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Programmable</a:t>
            </a:r>
          </a:p>
          <a:p>
            <a:r>
              <a:rPr lang="en-US" dirty="0"/>
              <a:t>Redundant Operation</a:t>
            </a:r>
          </a:p>
          <a:p>
            <a:r>
              <a:rPr lang="en-US" dirty="0"/>
              <a:t>Datalogg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99E449-1787-416D-06A2-3144FEDEA1A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duct Lin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57887F0-F141-B501-8C12-C87D51AC81CC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en-US" dirty="0"/>
              <a:t>RTU and I/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B8C1B5-DFE4-2B10-E799-9893E6C87C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27759" y="4460384"/>
            <a:ext cx="2519806" cy="1574799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Programmable</a:t>
            </a:r>
          </a:p>
          <a:p>
            <a:r>
              <a:rPr lang="en-US" dirty="0"/>
              <a:t>Onboard I/O</a:t>
            </a:r>
          </a:p>
          <a:p>
            <a:r>
              <a:rPr lang="en-US" dirty="0"/>
              <a:t>Datalogg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BC9556C-6D57-1A5F-B52A-7A3A59FF1F82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16648" y="1457950"/>
            <a:ext cx="2519806" cy="613230"/>
          </a:xfrm>
          <a:solidFill>
            <a:schemeClr val="tx2"/>
          </a:solidFill>
        </p:spPr>
        <p:txBody>
          <a:bodyPr/>
          <a:lstStyle/>
          <a:p>
            <a:r>
              <a:rPr lang="en-US" b="1" dirty="0"/>
              <a:t>ST-IPm-8460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C65F1E0-4D1C-8B65-0A57-921689A78BB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427759" y="1457950"/>
            <a:ext cx="2519806" cy="61323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VersaTRAK® RTUs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/>
              <a:t>VT-mIPm-138\248-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FA01CC-8D5D-6989-E2D1-7E4554A8FDAC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6272553" y="1457950"/>
            <a:ext cx="2519806" cy="613230"/>
          </a:xfrm>
          <a:solidFill>
            <a:schemeClr val="tx2"/>
          </a:solidFill>
        </p:spPr>
        <p:txBody>
          <a:bodyPr/>
          <a:lstStyle/>
          <a:p>
            <a:r>
              <a:rPr lang="en-US" b="1" dirty="0"/>
              <a:t>Red Lion Workbench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ECCBBE4-76CB-04D6-72DA-C9943EA5E31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58330" y="1457950"/>
            <a:ext cx="2519806" cy="613230"/>
          </a:xfrm>
        </p:spPr>
        <p:txBody>
          <a:bodyPr/>
          <a:lstStyle/>
          <a:p>
            <a:r>
              <a:rPr lang="en-US" b="1" dirty="0"/>
              <a:t>EtherTRAK</a:t>
            </a:r>
            <a:r>
              <a:rPr lang="en-US" b="1" dirty="0">
                <a:latin typeface="Abadi" panose="020B0604020104020204" pitchFamily="34" charset="0"/>
              </a:rPr>
              <a:t>® </a:t>
            </a:r>
            <a:r>
              <a:rPr lang="en-US" b="1" dirty="0"/>
              <a:t>-2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012BD8-CBC9-6012-D4B3-0A9B9C5CF7D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3868" y="4460384"/>
            <a:ext cx="2519806" cy="1574799"/>
          </a:xfrm>
        </p:spPr>
        <p:txBody>
          <a:bodyPr/>
          <a:lstStyle/>
          <a:p>
            <a:r>
              <a:rPr lang="en-US" dirty="0"/>
              <a:t>5 Languages</a:t>
            </a:r>
          </a:p>
          <a:p>
            <a:r>
              <a:rPr lang="en-US" dirty="0"/>
              <a:t>Protocols</a:t>
            </a:r>
          </a:p>
          <a:p>
            <a:r>
              <a:rPr lang="en-US" dirty="0"/>
              <a:t>Redundancy</a:t>
            </a:r>
          </a:p>
          <a:p>
            <a:r>
              <a:rPr lang="en-US" dirty="0"/>
              <a:t>Two variable database or one variable databas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C195E01-8364-F170-66AB-20DEDEF3931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58330" y="4460384"/>
            <a:ext cx="2519806" cy="1574799"/>
          </a:xfrm>
        </p:spPr>
        <p:txBody>
          <a:bodyPr/>
          <a:lstStyle/>
          <a:p>
            <a:r>
              <a:rPr lang="en-US" dirty="0"/>
              <a:t>Rugged (High Temp; Haz Loc)</a:t>
            </a:r>
          </a:p>
          <a:p>
            <a:r>
              <a:rPr lang="en-US" dirty="0"/>
              <a:t>Three Network Modes</a:t>
            </a:r>
          </a:p>
          <a:p>
            <a:r>
              <a:rPr lang="en-US" dirty="0"/>
              <a:t>Up 34 I/O</a:t>
            </a:r>
          </a:p>
          <a:p>
            <a:r>
              <a:rPr lang="en-US" dirty="0"/>
              <a:t>17 different models</a:t>
            </a:r>
          </a:p>
        </p:txBody>
      </p:sp>
      <p:pic>
        <p:nvPicPr>
          <p:cNvPr id="21" name="Content Placeholder 20">
            <a:extLst>
              <a:ext uri="{FF2B5EF4-FFF2-40B4-BE49-F238E27FC236}">
                <a16:creationId xmlns:a16="http://schemas.microsoft.com/office/drawing/2014/main" id="{31AB9E5B-4B52-29CB-7188-567D07408441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337" y="2254446"/>
            <a:ext cx="2026176" cy="1352994"/>
          </a:xfrm>
        </p:spPr>
      </p:pic>
      <p:pic>
        <p:nvPicPr>
          <p:cNvPr id="31" name="Content Placeholder 30">
            <a:extLst>
              <a:ext uri="{FF2B5EF4-FFF2-40B4-BE49-F238E27FC236}">
                <a16:creationId xmlns:a16="http://schemas.microsoft.com/office/drawing/2014/main" id="{0959D0F8-5068-F920-1C0E-87E4D01E8027}"/>
              </a:ext>
            </a:extLst>
          </p:cNvPr>
          <p:cNvPicPr>
            <a:picLocks noGrp="1" noChangeAspect="1"/>
          </p:cNvPicPr>
          <p:nvPr>
            <p:ph sz="quarter" idx="22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2136" y="2254446"/>
            <a:ext cx="1447800" cy="1447800"/>
          </a:xfrm>
        </p:spPr>
      </p:pic>
      <p:pic>
        <p:nvPicPr>
          <p:cNvPr id="29" name="Content Placeholder 28">
            <a:extLst>
              <a:ext uri="{FF2B5EF4-FFF2-40B4-BE49-F238E27FC236}">
                <a16:creationId xmlns:a16="http://schemas.microsoft.com/office/drawing/2014/main" id="{DC379201-F2B5-AFDE-E200-08041F67D90B}"/>
              </a:ext>
            </a:extLst>
          </p:cNvPr>
          <p:cNvPicPr>
            <a:picLocks noGrp="1" noChangeAspect="1"/>
          </p:cNvPicPr>
          <p:nvPr>
            <p:ph sz="quarter" idx="23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7248" y="2254446"/>
            <a:ext cx="1554478" cy="1554478"/>
          </a:xfr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9A7C73A-5303-5E54-F13D-53E209532724}"/>
              </a:ext>
            </a:extLst>
          </p:cNvPr>
          <p:cNvSpPr txBox="1"/>
          <p:nvPr/>
        </p:nvSpPr>
        <p:spPr>
          <a:xfrm>
            <a:off x="609600" y="3886017"/>
            <a:ext cx="252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63666A"/>
                </a:solidFill>
                <a:latin typeface="Lato" panose="020F0502020204030203" pitchFamily="34" charset="0"/>
              </a:rPr>
              <a:t>Programmable RTU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7335F22-6026-2E0D-6219-C213D8D59256}"/>
              </a:ext>
            </a:extLst>
          </p:cNvPr>
          <p:cNvSpPr txBox="1"/>
          <p:nvPr/>
        </p:nvSpPr>
        <p:spPr>
          <a:xfrm>
            <a:off x="3442757" y="3886017"/>
            <a:ext cx="24898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3666A"/>
                </a:solidFill>
                <a:latin typeface="Lato" panose="020F0502020204030203" pitchFamily="34" charset="0"/>
              </a:rPr>
              <a:t>New Programmable RTU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EDD483B-3F84-383C-8355-B0C2DF1842E8}"/>
              </a:ext>
            </a:extLst>
          </p:cNvPr>
          <p:cNvSpPr txBox="1"/>
          <p:nvPr/>
        </p:nvSpPr>
        <p:spPr>
          <a:xfrm>
            <a:off x="6246820" y="3886017"/>
            <a:ext cx="25268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3666A"/>
                </a:solidFill>
                <a:latin typeface="Lato" panose="020F0502020204030203" pitchFamily="34" charset="0"/>
              </a:rPr>
              <a:t>IEC 61131-3 Programming Workbench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AD29235-3634-46CB-0BC3-6A849533D6B0}"/>
              </a:ext>
            </a:extLst>
          </p:cNvPr>
          <p:cNvSpPr txBox="1"/>
          <p:nvPr/>
        </p:nvSpPr>
        <p:spPr>
          <a:xfrm>
            <a:off x="9072426" y="3886017"/>
            <a:ext cx="252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63666A"/>
                </a:solidFill>
                <a:latin typeface="Lato" panose="020F0502020204030203" pitchFamily="34" charset="0"/>
              </a:rPr>
              <a:t>Dual Ethernet I/O Modul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965393D-DB59-77CF-4AE7-414514445C22}"/>
              </a:ext>
            </a:extLst>
          </p:cNvPr>
          <p:cNvSpPr/>
          <p:nvPr/>
        </p:nvSpPr>
        <p:spPr>
          <a:xfrm>
            <a:off x="3240360" y="1196752"/>
            <a:ext cx="8904312" cy="490344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style>
          <a:lnRef idx="0">
            <a:schemeClr val="accent6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6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6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rtlCol="0" anchor="ctr"/>
          <a:lstStyle/>
          <a:p>
            <a:pPr algn="l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944632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1DF1869-DB8A-F598-B289-892078C423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1600200"/>
            <a:ext cx="4910668" cy="4001911"/>
          </a:xfrm>
        </p:spPr>
        <p:txBody>
          <a:bodyPr/>
          <a:lstStyle/>
          <a:p>
            <a:pPr>
              <a:lnSpc>
                <a:spcPts val="1680"/>
              </a:lnSpc>
            </a:pPr>
            <a:r>
              <a:rPr lang="en-US" sz="1400" dirty="0"/>
              <a:t>10x faster performance</a:t>
            </a:r>
          </a:p>
          <a:p>
            <a:pPr>
              <a:lnSpc>
                <a:spcPts val="1680"/>
              </a:lnSpc>
            </a:pPr>
            <a:r>
              <a:rPr lang="en-US" sz="1400" dirty="0"/>
              <a:t>4x more NVRAM</a:t>
            </a:r>
          </a:p>
          <a:p>
            <a:pPr>
              <a:lnSpc>
                <a:spcPts val="1680"/>
              </a:lnSpc>
            </a:pPr>
            <a:r>
              <a:rPr lang="en-US" sz="1400" dirty="0"/>
              <a:t>4x more FLASH</a:t>
            </a:r>
          </a:p>
          <a:p>
            <a:pPr>
              <a:lnSpc>
                <a:spcPts val="1680"/>
              </a:lnSpc>
            </a:pPr>
            <a:r>
              <a:rPr lang="en-US" sz="1400" dirty="0"/>
              <a:t>8x more RAM</a:t>
            </a:r>
          </a:p>
          <a:p>
            <a:pPr>
              <a:lnSpc>
                <a:spcPts val="1680"/>
              </a:lnSpc>
            </a:pPr>
            <a:r>
              <a:rPr lang="en-US" sz="1400" dirty="0"/>
              <a:t>Isolated RS232 and RS485 ports</a:t>
            </a:r>
          </a:p>
          <a:p>
            <a:pPr>
              <a:lnSpc>
                <a:spcPts val="1680"/>
              </a:lnSpc>
            </a:pPr>
            <a:r>
              <a:rPr lang="en-US" sz="1400" dirty="0"/>
              <a:t>1 additional Ethernet Port</a:t>
            </a:r>
          </a:p>
          <a:p>
            <a:pPr>
              <a:lnSpc>
                <a:spcPts val="1680"/>
              </a:lnSpc>
            </a:pPr>
            <a:r>
              <a:rPr lang="en-US" sz="1400" dirty="0"/>
              <a:t>Red Lion Workbench (IEC61131-3 programming)</a:t>
            </a:r>
          </a:p>
          <a:p>
            <a:pPr>
              <a:lnSpc>
                <a:spcPts val="1680"/>
              </a:lnSpc>
            </a:pPr>
            <a:r>
              <a:rPr lang="en-US" dirty="0"/>
              <a:t>ISaGRAF Compatible (backward compatibility)</a:t>
            </a:r>
          </a:p>
          <a:p>
            <a:pPr>
              <a:lnSpc>
                <a:spcPts val="1680"/>
              </a:lnSpc>
            </a:pPr>
            <a:endParaRPr lang="en-US" sz="1400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ED67049B-35F2-E848-7E3F-6D04BB01F440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355954"/>
            <a:ext cx="5400675" cy="3606342"/>
          </a:xfr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59A2DA-A678-02BA-A39B-24D04829D1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kern="1200" baseline="0" dirty="0">
                <a:latin typeface="Titillium" pitchFamily="2" charset="77"/>
                <a:ea typeface="+mn-ea"/>
                <a:cs typeface="+mn-cs"/>
              </a:rPr>
              <a:t>Programmable Controlle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D097196-B9DA-71EE-196B-A5E03558B949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/>
              <a:t>ST-IPm-8460</a:t>
            </a:r>
          </a:p>
        </p:txBody>
      </p:sp>
    </p:spTree>
    <p:extLst>
      <p:ext uri="{BB962C8B-B14F-4D97-AF65-F5344CB8AC3E}">
        <p14:creationId xmlns:p14="http://schemas.microsoft.com/office/powerpoint/2010/main" val="2963955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8D94813-C005-9349-0C05-047AC98333D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1" y="1600201"/>
            <a:ext cx="4910668" cy="3183959"/>
          </a:xfrm>
        </p:spPr>
        <p:txBody>
          <a:bodyPr/>
          <a:lstStyle/>
          <a:p>
            <a:pPr>
              <a:lnSpc>
                <a:spcPts val="1920"/>
              </a:lnSpc>
              <a:buSzPct val="90000"/>
            </a:pPr>
            <a:r>
              <a:rPr lang="en-US" altLang="en-US" sz="1600" b="1" dirty="0"/>
              <a:t>Rugged dependability in extreme environments</a:t>
            </a:r>
          </a:p>
          <a:p>
            <a:pPr lvl="1">
              <a:lnSpc>
                <a:spcPts val="1920"/>
              </a:lnSpc>
              <a:buSzPct val="90000"/>
            </a:pPr>
            <a:r>
              <a:rPr lang="en-US" altLang="en-US" sz="1400" dirty="0"/>
              <a:t>Extreme temperature rating -40 to +70</a:t>
            </a:r>
            <a:r>
              <a:rPr lang="en-US" altLang="en-US" sz="1400" baseline="50000" dirty="0"/>
              <a:t>◦</a:t>
            </a:r>
            <a:r>
              <a:rPr lang="en-US" altLang="en-US" sz="1400" dirty="0"/>
              <a:t>C </a:t>
            </a:r>
          </a:p>
          <a:p>
            <a:pPr lvl="1">
              <a:lnSpc>
                <a:spcPts val="1920"/>
              </a:lnSpc>
              <a:buSzPct val="90000"/>
            </a:pPr>
            <a:r>
              <a:rPr lang="en-US" altLang="en-US" sz="1400" dirty="0"/>
              <a:t>High mean-time between failure (MTBF) </a:t>
            </a:r>
            <a:endParaRPr lang="en-US" altLang="en-US" dirty="0"/>
          </a:p>
          <a:p>
            <a:pPr>
              <a:lnSpc>
                <a:spcPts val="1920"/>
              </a:lnSpc>
              <a:buSzPct val="90000"/>
            </a:pPr>
            <a:r>
              <a:rPr lang="en-US" altLang="en-US" sz="1600" b="1" dirty="0"/>
              <a:t>Redundancy</a:t>
            </a:r>
          </a:p>
          <a:p>
            <a:pPr lvl="1">
              <a:lnSpc>
                <a:spcPts val="1920"/>
              </a:lnSpc>
              <a:buSzPct val="90000"/>
            </a:pPr>
            <a:r>
              <a:rPr lang="en-US" altLang="en-US" sz="1400" dirty="0"/>
              <a:t>Redundant Controller</a:t>
            </a:r>
          </a:p>
          <a:p>
            <a:pPr lvl="1">
              <a:lnSpc>
                <a:spcPts val="1920"/>
              </a:lnSpc>
              <a:buSzPct val="90000"/>
            </a:pPr>
            <a:r>
              <a:rPr lang="en-US" altLang="en-US" sz="1400" dirty="0"/>
              <a:t>Dual Power Input</a:t>
            </a:r>
            <a:endParaRPr lang="en-US" altLang="en-US" dirty="0"/>
          </a:p>
          <a:p>
            <a:pPr>
              <a:lnSpc>
                <a:spcPts val="1920"/>
              </a:lnSpc>
              <a:buSzPct val="90000"/>
            </a:pPr>
            <a:r>
              <a:rPr lang="en-US" altLang="en-US" sz="1600" b="1" dirty="0"/>
              <a:t>Many communication ports and protocols</a:t>
            </a:r>
          </a:p>
          <a:p>
            <a:pPr lvl="1">
              <a:lnSpc>
                <a:spcPts val="1920"/>
              </a:lnSpc>
              <a:buSzPct val="90000"/>
            </a:pPr>
            <a:r>
              <a:rPr lang="en-US" altLang="en-US" sz="1400" dirty="0"/>
              <a:t>3x RS232, 1x RS485, 6x Ethernet</a:t>
            </a:r>
            <a:endParaRPr lang="en-US" altLang="en-US" dirty="0"/>
          </a:p>
          <a:p>
            <a:pPr>
              <a:lnSpc>
                <a:spcPts val="1920"/>
              </a:lnSpc>
              <a:buSzPct val="90000"/>
            </a:pPr>
            <a:r>
              <a:rPr lang="en-US" altLang="en-US" sz="1600" b="1" dirty="0"/>
              <a:t>Certified for hazardous environments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222C73DE-D8BC-B97A-20E1-07A644940FC5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6379" y="1980542"/>
            <a:ext cx="4198556" cy="2803618"/>
          </a:xfrm>
          <a:noFill/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589958-090B-F7CD-D0C3-3BFCBE928EA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ardware Featur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1B9AE9-1BD3-FBC5-706A-39C5530772B4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/>
              <a:t>ST-IPm-8460</a:t>
            </a:r>
          </a:p>
        </p:txBody>
      </p:sp>
      <p:sp>
        <p:nvSpPr>
          <p:cNvPr id="8" name="Arrow: Up 7">
            <a:extLst>
              <a:ext uri="{FF2B5EF4-FFF2-40B4-BE49-F238E27FC236}">
                <a16:creationId xmlns:a16="http://schemas.microsoft.com/office/drawing/2014/main" id="{208662A9-94A5-024D-5590-B147F09F9E97}"/>
              </a:ext>
            </a:extLst>
          </p:cNvPr>
          <p:cNvSpPr/>
          <p:nvPr/>
        </p:nvSpPr>
        <p:spPr>
          <a:xfrm>
            <a:off x="7952747" y="1768609"/>
            <a:ext cx="236220" cy="482094"/>
          </a:xfrm>
          <a:prstGeom prst="upArrow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rrow: Up 8">
            <a:extLst>
              <a:ext uri="{FF2B5EF4-FFF2-40B4-BE49-F238E27FC236}">
                <a16:creationId xmlns:a16="http://schemas.microsoft.com/office/drawing/2014/main" id="{E7DA5C2E-91F7-8F82-928D-6F09C008E4B9}"/>
              </a:ext>
            </a:extLst>
          </p:cNvPr>
          <p:cNvSpPr/>
          <p:nvPr/>
        </p:nvSpPr>
        <p:spPr>
          <a:xfrm>
            <a:off x="8257547" y="1768609"/>
            <a:ext cx="236220" cy="482094"/>
          </a:xfrm>
          <a:prstGeom prst="upArrow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rrow: Up 9">
            <a:extLst>
              <a:ext uri="{FF2B5EF4-FFF2-40B4-BE49-F238E27FC236}">
                <a16:creationId xmlns:a16="http://schemas.microsoft.com/office/drawing/2014/main" id="{6DD089D5-F8BE-3F46-BDBE-B9DD338B4A01}"/>
              </a:ext>
            </a:extLst>
          </p:cNvPr>
          <p:cNvSpPr/>
          <p:nvPr/>
        </p:nvSpPr>
        <p:spPr>
          <a:xfrm>
            <a:off x="8539487" y="1762614"/>
            <a:ext cx="236220" cy="482094"/>
          </a:xfrm>
          <a:prstGeom prst="upArrow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rrow: Up 10">
            <a:extLst>
              <a:ext uri="{FF2B5EF4-FFF2-40B4-BE49-F238E27FC236}">
                <a16:creationId xmlns:a16="http://schemas.microsoft.com/office/drawing/2014/main" id="{B96E5087-3331-7BF8-4893-35BA6FE0E0D9}"/>
              </a:ext>
            </a:extLst>
          </p:cNvPr>
          <p:cNvSpPr/>
          <p:nvPr/>
        </p:nvSpPr>
        <p:spPr>
          <a:xfrm>
            <a:off x="8844510" y="1762614"/>
            <a:ext cx="236220" cy="482094"/>
          </a:xfrm>
          <a:prstGeom prst="upArrow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rrow: Up 11">
            <a:extLst>
              <a:ext uri="{FF2B5EF4-FFF2-40B4-BE49-F238E27FC236}">
                <a16:creationId xmlns:a16="http://schemas.microsoft.com/office/drawing/2014/main" id="{FC83398B-2F61-6093-EDBB-E611C9E2214E}"/>
              </a:ext>
            </a:extLst>
          </p:cNvPr>
          <p:cNvSpPr/>
          <p:nvPr/>
        </p:nvSpPr>
        <p:spPr>
          <a:xfrm>
            <a:off x="9137880" y="1762614"/>
            <a:ext cx="236220" cy="482094"/>
          </a:xfrm>
          <a:prstGeom prst="upArrow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Up 12">
            <a:extLst>
              <a:ext uri="{FF2B5EF4-FFF2-40B4-BE49-F238E27FC236}">
                <a16:creationId xmlns:a16="http://schemas.microsoft.com/office/drawing/2014/main" id="{8BE7D994-B189-6139-1A69-A27C6F236C1A}"/>
              </a:ext>
            </a:extLst>
          </p:cNvPr>
          <p:cNvSpPr/>
          <p:nvPr/>
        </p:nvSpPr>
        <p:spPr>
          <a:xfrm>
            <a:off x="7423157" y="1519691"/>
            <a:ext cx="236220" cy="725017"/>
          </a:xfrm>
          <a:prstGeom prst="upArrow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3F3DA12E-CA46-EEC0-CE24-D2E8179D9C95}"/>
              </a:ext>
            </a:extLst>
          </p:cNvPr>
          <p:cNvSpPr/>
          <p:nvPr/>
        </p:nvSpPr>
        <p:spPr>
          <a:xfrm>
            <a:off x="9922743" y="2907206"/>
            <a:ext cx="579120" cy="205740"/>
          </a:xfrm>
          <a:prstGeom prst="rightArrow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id="{01AD6232-B37D-C4EF-14D2-9CDD11961CEA}"/>
              </a:ext>
            </a:extLst>
          </p:cNvPr>
          <p:cNvSpPr/>
          <p:nvPr/>
        </p:nvSpPr>
        <p:spPr>
          <a:xfrm>
            <a:off x="9922743" y="3478013"/>
            <a:ext cx="579120" cy="205740"/>
          </a:xfrm>
          <a:prstGeom prst="rightArrow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Arrow: Right 15">
            <a:extLst>
              <a:ext uri="{FF2B5EF4-FFF2-40B4-BE49-F238E27FC236}">
                <a16:creationId xmlns:a16="http://schemas.microsoft.com/office/drawing/2014/main" id="{55A66DFD-F332-F158-E41B-3A779D50E2B5}"/>
              </a:ext>
            </a:extLst>
          </p:cNvPr>
          <p:cNvSpPr/>
          <p:nvPr/>
        </p:nvSpPr>
        <p:spPr>
          <a:xfrm rot="5400000">
            <a:off x="8069543" y="4881177"/>
            <a:ext cx="947503" cy="205741"/>
          </a:xfrm>
          <a:prstGeom prst="rightArrow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1237E619-4FE7-7276-72FB-E9CDCCD8BB0E}"/>
              </a:ext>
            </a:extLst>
          </p:cNvPr>
          <p:cNvSpPr/>
          <p:nvPr/>
        </p:nvSpPr>
        <p:spPr>
          <a:xfrm rot="5400000">
            <a:off x="8864535" y="4596952"/>
            <a:ext cx="379050" cy="205740"/>
          </a:xfrm>
          <a:prstGeom prst="rightArrow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4E5011B0-5DB4-30B9-8F0E-36B9F0EE5DAF}"/>
              </a:ext>
            </a:extLst>
          </p:cNvPr>
          <p:cNvSpPr/>
          <p:nvPr/>
        </p:nvSpPr>
        <p:spPr>
          <a:xfrm rot="19608421">
            <a:off x="9086536" y="2484395"/>
            <a:ext cx="1181983" cy="238086"/>
          </a:xfrm>
          <a:prstGeom prst="rightArrow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1E568E99-0F2C-E944-9C06-7946C31B20E2}"/>
              </a:ext>
            </a:extLst>
          </p:cNvPr>
          <p:cNvSpPr/>
          <p:nvPr/>
        </p:nvSpPr>
        <p:spPr>
          <a:xfrm rot="5400000">
            <a:off x="7853273" y="4619263"/>
            <a:ext cx="379050" cy="205740"/>
          </a:xfrm>
          <a:prstGeom prst="rightArrow">
            <a:avLst/>
          </a:prstGeom>
          <a:solidFill>
            <a:schemeClr val="tx1"/>
          </a:solidFill>
          <a:ln>
            <a:solidFill>
              <a:schemeClr val="accent4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CDF2BF5-5A2E-AA1E-D872-A5FD87849E3B}"/>
              </a:ext>
            </a:extLst>
          </p:cNvPr>
          <p:cNvSpPr txBox="1"/>
          <p:nvPr/>
        </p:nvSpPr>
        <p:spPr>
          <a:xfrm>
            <a:off x="8031545" y="1333056"/>
            <a:ext cx="1147393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600" dirty="0">
                <a:solidFill>
                  <a:srgbClr val="63666A"/>
                </a:solidFill>
              </a:rPr>
              <a:t>Ethernet 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39BAE3-289E-A9BC-D6C4-955DD40F8727}"/>
              </a:ext>
            </a:extLst>
          </p:cNvPr>
          <p:cNvSpPr txBox="1"/>
          <p:nvPr/>
        </p:nvSpPr>
        <p:spPr>
          <a:xfrm>
            <a:off x="10355586" y="2835020"/>
            <a:ext cx="13042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63666A"/>
                </a:solidFill>
              </a:rPr>
              <a:t>RS23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E3ACBA9-FCDE-2662-84C6-396A6D636A3E}"/>
              </a:ext>
            </a:extLst>
          </p:cNvPr>
          <p:cNvSpPr txBox="1"/>
          <p:nvPr/>
        </p:nvSpPr>
        <p:spPr>
          <a:xfrm>
            <a:off x="10340858" y="3424029"/>
            <a:ext cx="13042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63666A"/>
                </a:solidFill>
              </a:rPr>
              <a:t>RS232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FF678E2-9D9F-F3B5-210C-5D9A5C8B4F07}"/>
              </a:ext>
            </a:extLst>
          </p:cNvPr>
          <p:cNvSpPr txBox="1"/>
          <p:nvPr/>
        </p:nvSpPr>
        <p:spPr>
          <a:xfrm>
            <a:off x="8099324" y="5512243"/>
            <a:ext cx="9485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63666A"/>
                </a:solidFill>
              </a:rPr>
              <a:t>RS23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9E42959-FD23-0C8D-3064-7AF5AD57D7A0}"/>
              </a:ext>
            </a:extLst>
          </p:cNvPr>
          <p:cNvSpPr txBox="1"/>
          <p:nvPr/>
        </p:nvSpPr>
        <p:spPr>
          <a:xfrm>
            <a:off x="8585774" y="4872430"/>
            <a:ext cx="9485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63666A"/>
                </a:solidFill>
              </a:rPr>
              <a:t>RS485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4176E55-17BE-2F99-82DC-6059AAF9FC4A}"/>
              </a:ext>
            </a:extLst>
          </p:cNvPr>
          <p:cNvSpPr txBox="1"/>
          <p:nvPr/>
        </p:nvSpPr>
        <p:spPr>
          <a:xfrm>
            <a:off x="10050786" y="1991284"/>
            <a:ext cx="18713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63666A"/>
                </a:solidFill>
              </a:rPr>
              <a:t>USB Device</a:t>
            </a:r>
          </a:p>
          <a:p>
            <a:pPr algn="ctr"/>
            <a:r>
              <a:rPr lang="en-US" sz="1600" dirty="0">
                <a:solidFill>
                  <a:srgbClr val="63666A"/>
                </a:solidFill>
              </a:rPr>
              <a:t>Diagnostics only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BFE0E4B-EF86-ED98-2BCC-344D92FE2D39}"/>
              </a:ext>
            </a:extLst>
          </p:cNvPr>
          <p:cNvSpPr txBox="1"/>
          <p:nvPr/>
        </p:nvSpPr>
        <p:spPr>
          <a:xfrm>
            <a:off x="6983209" y="1139885"/>
            <a:ext cx="1116115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600" dirty="0">
                <a:solidFill>
                  <a:srgbClr val="63666A"/>
                </a:solidFill>
              </a:rPr>
              <a:t>Ethernet 1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99FB5B6-CAE3-5DEE-88A4-FEA012836ECE}"/>
              </a:ext>
            </a:extLst>
          </p:cNvPr>
          <p:cNvSpPr txBox="1"/>
          <p:nvPr/>
        </p:nvSpPr>
        <p:spPr>
          <a:xfrm>
            <a:off x="7614755" y="4886526"/>
            <a:ext cx="8256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rgbClr val="63666A"/>
                </a:solidFill>
              </a:rPr>
              <a:t>Dual Power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F537F43-186A-AB1C-C938-05AAA9E29B39}"/>
              </a:ext>
            </a:extLst>
          </p:cNvPr>
          <p:cNvGrpSpPr/>
          <p:nvPr/>
        </p:nvGrpSpPr>
        <p:grpSpPr>
          <a:xfrm>
            <a:off x="695401" y="4996680"/>
            <a:ext cx="4320480" cy="677909"/>
            <a:chOff x="643012" y="4293097"/>
            <a:chExt cx="4855233" cy="761815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A238113D-8CBC-A3DB-1049-F89E982470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189" t="40362" r="7640" b="34449"/>
            <a:stretch/>
          </p:blipFill>
          <p:spPr>
            <a:xfrm>
              <a:off x="3151629" y="4461009"/>
              <a:ext cx="1135974" cy="425990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9F765516-64A7-11C0-C751-AF36CA4EB20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3806" y="4298041"/>
              <a:ext cx="824439" cy="751926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68E65900-0927-CAE5-F28B-29F8ADAF49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94" t="24433" r="22794" b="24433"/>
            <a:stretch/>
          </p:blipFill>
          <p:spPr>
            <a:xfrm>
              <a:off x="643012" y="4293097"/>
              <a:ext cx="810665" cy="761815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C303EDEA-94B8-08B5-2CEE-6A75CA9F0F4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30" t="17206" r="15430" b="17206"/>
            <a:stretch/>
          </p:blipFill>
          <p:spPr>
            <a:xfrm>
              <a:off x="1839880" y="4344571"/>
              <a:ext cx="925546" cy="65886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25904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BE4E19D-4A9D-16EC-8FF3-6158277FAE4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6775" y="1612917"/>
            <a:ext cx="4910668" cy="4001911"/>
          </a:xfrm>
        </p:spPr>
        <p:txBody>
          <a:bodyPr/>
          <a:lstStyle/>
          <a:p>
            <a:pPr>
              <a:lnSpc>
                <a:spcPts val="1920"/>
              </a:lnSpc>
            </a:pPr>
            <a:r>
              <a:rPr lang="en-US" altLang="en-US" sz="1600" b="1" dirty="0"/>
              <a:t>Flexible open architecture </a:t>
            </a:r>
          </a:p>
          <a:p>
            <a:pPr lvl="1">
              <a:lnSpc>
                <a:spcPts val="1920"/>
              </a:lnSpc>
            </a:pPr>
            <a:r>
              <a:rPr lang="en-US" altLang="en-US" sz="1400" dirty="0"/>
              <a:t>Linux operating system</a:t>
            </a:r>
          </a:p>
          <a:p>
            <a:pPr>
              <a:lnSpc>
                <a:spcPts val="1920"/>
              </a:lnSpc>
            </a:pPr>
            <a:r>
              <a:rPr lang="en-US" altLang="en-US" sz="1600" b="1" dirty="0"/>
              <a:t>Security</a:t>
            </a:r>
          </a:p>
          <a:p>
            <a:pPr lvl="1">
              <a:lnSpc>
                <a:spcPts val="1920"/>
              </a:lnSpc>
            </a:pPr>
            <a:r>
              <a:rPr lang="en-US" altLang="en-US" sz="1400" dirty="0"/>
              <a:t>User Authentication</a:t>
            </a:r>
          </a:p>
          <a:p>
            <a:pPr lvl="1">
              <a:lnSpc>
                <a:spcPts val="1920"/>
              </a:lnSpc>
            </a:pPr>
            <a:r>
              <a:rPr lang="en-US" altLang="en-US" sz="1400" dirty="0"/>
              <a:t>Advanced firewalls</a:t>
            </a:r>
          </a:p>
          <a:p>
            <a:pPr>
              <a:lnSpc>
                <a:spcPts val="1920"/>
              </a:lnSpc>
            </a:pPr>
            <a:r>
              <a:rPr lang="en-US" altLang="en-US" sz="1600" b="1" dirty="0"/>
              <a:t>Datalogging configuration</a:t>
            </a:r>
          </a:p>
          <a:p>
            <a:pPr>
              <a:lnSpc>
                <a:spcPts val="1920"/>
              </a:lnSpc>
            </a:pPr>
            <a:r>
              <a:rPr lang="en-US" altLang="en-US" sz="1600" b="1" dirty="0"/>
              <a:t>Programmable with IEC61131-3 and C</a:t>
            </a:r>
          </a:p>
          <a:p>
            <a:pPr lvl="1">
              <a:lnSpc>
                <a:spcPts val="1920"/>
              </a:lnSpc>
            </a:pPr>
            <a:r>
              <a:rPr lang="en-US" altLang="en-US" sz="1400" dirty="0"/>
              <a:t>Red Lion Controls Workbench</a:t>
            </a:r>
          </a:p>
          <a:p>
            <a:pPr lvl="1">
              <a:lnSpc>
                <a:spcPts val="1920"/>
              </a:lnSpc>
            </a:pPr>
            <a:r>
              <a:rPr lang="en-US" altLang="en-US" sz="1400" dirty="0"/>
              <a:t>ISaGRAF (backward compatibility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F574348-384F-7C62-694D-ADE04CBB83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oftware Featur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3C102C-01AA-6BAD-C513-081411E0BE0D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/>
              <a:t>ST-IPm-8460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B140EE7-421B-C2B6-2AEA-42720BC84D16}"/>
              </a:ext>
            </a:extLst>
          </p:cNvPr>
          <p:cNvCxnSpPr>
            <a:cxnSpLocks/>
          </p:cNvCxnSpPr>
          <p:nvPr/>
        </p:nvCxnSpPr>
        <p:spPr>
          <a:xfrm>
            <a:off x="8713948" y="975816"/>
            <a:ext cx="0" cy="4759424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81B0DE3-C98B-BE79-052E-F9F756AD7AF4}"/>
              </a:ext>
            </a:extLst>
          </p:cNvPr>
          <p:cNvCxnSpPr>
            <a:cxnSpLocks/>
          </p:cNvCxnSpPr>
          <p:nvPr/>
        </p:nvCxnSpPr>
        <p:spPr>
          <a:xfrm flipH="1">
            <a:off x="6373688" y="3355528"/>
            <a:ext cx="468052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pic>
        <p:nvPicPr>
          <p:cNvPr id="20" name="Graphic 19" descr="Statistics">
            <a:extLst>
              <a:ext uri="{FF2B5EF4-FFF2-40B4-BE49-F238E27FC236}">
                <a16:creationId xmlns:a16="http://schemas.microsoft.com/office/drawing/2014/main" id="{2C829723-9955-839A-102B-22565B0690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888091" y="3827564"/>
            <a:ext cx="1291630" cy="1291630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F3B8F6FE-EDF5-C400-8E63-14472EEBA5D7}"/>
              </a:ext>
            </a:extLst>
          </p:cNvPr>
          <p:cNvGrpSpPr/>
          <p:nvPr/>
        </p:nvGrpSpPr>
        <p:grpSpPr>
          <a:xfrm>
            <a:off x="9430690" y="4181785"/>
            <a:ext cx="1138908" cy="583187"/>
            <a:chOff x="9582098" y="4691030"/>
            <a:chExt cx="847782" cy="458204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936941F-B58D-AFA9-3468-8435FD94A2C6}"/>
                </a:ext>
              </a:extLst>
            </p:cNvPr>
            <p:cNvSpPr/>
            <p:nvPr/>
          </p:nvSpPr>
          <p:spPr>
            <a:xfrm>
              <a:off x="10157392" y="4691030"/>
              <a:ext cx="181647" cy="181647"/>
            </a:xfrm>
            <a:custGeom>
              <a:avLst/>
              <a:gdLst>
                <a:gd name="connsiteX0" fmla="*/ 181647 w 181647"/>
                <a:gd name="connsiteY0" fmla="*/ 90824 h 181647"/>
                <a:gd name="connsiteX1" fmla="*/ 90824 w 181647"/>
                <a:gd name="connsiteY1" fmla="*/ 181647 h 181647"/>
                <a:gd name="connsiteX2" fmla="*/ 0 w 181647"/>
                <a:gd name="connsiteY2" fmla="*/ 90824 h 181647"/>
                <a:gd name="connsiteX3" fmla="*/ 90824 w 181647"/>
                <a:gd name="connsiteY3" fmla="*/ 0 h 181647"/>
                <a:gd name="connsiteX4" fmla="*/ 181647 w 181647"/>
                <a:gd name="connsiteY4" fmla="*/ 90824 h 181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647" h="181647">
                  <a:moveTo>
                    <a:pt x="181647" y="90824"/>
                  </a:moveTo>
                  <a:cubicBezTo>
                    <a:pt x="181647" y="140984"/>
                    <a:pt x="140984" y="181647"/>
                    <a:pt x="90824" y="181647"/>
                  </a:cubicBezTo>
                  <a:cubicBezTo>
                    <a:pt x="40663" y="181647"/>
                    <a:pt x="0" y="140984"/>
                    <a:pt x="0" y="90824"/>
                  </a:cubicBezTo>
                  <a:cubicBezTo>
                    <a:pt x="0" y="40663"/>
                    <a:pt x="40663" y="0"/>
                    <a:pt x="90824" y="0"/>
                  </a:cubicBezTo>
                  <a:cubicBezTo>
                    <a:pt x="140984" y="0"/>
                    <a:pt x="181647" y="40663"/>
                    <a:pt x="181647" y="90824"/>
                  </a:cubicBezTo>
                  <a:close/>
                </a:path>
              </a:pathLst>
            </a:custGeom>
            <a:solidFill>
              <a:schemeClr val="tx2"/>
            </a:solidFill>
            <a:ln w="116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03D979-3803-56E0-0388-A9D6D796DAB2}"/>
                </a:ext>
              </a:extLst>
            </p:cNvPr>
            <p:cNvSpPr/>
            <p:nvPr/>
          </p:nvSpPr>
          <p:spPr>
            <a:xfrm>
              <a:off x="9673038" y="4691030"/>
              <a:ext cx="181647" cy="181647"/>
            </a:xfrm>
            <a:custGeom>
              <a:avLst/>
              <a:gdLst>
                <a:gd name="connsiteX0" fmla="*/ 181647 w 181647"/>
                <a:gd name="connsiteY0" fmla="*/ 90824 h 181647"/>
                <a:gd name="connsiteX1" fmla="*/ 90824 w 181647"/>
                <a:gd name="connsiteY1" fmla="*/ 181647 h 181647"/>
                <a:gd name="connsiteX2" fmla="*/ 0 w 181647"/>
                <a:gd name="connsiteY2" fmla="*/ 90824 h 181647"/>
                <a:gd name="connsiteX3" fmla="*/ 90824 w 181647"/>
                <a:gd name="connsiteY3" fmla="*/ 0 h 181647"/>
                <a:gd name="connsiteX4" fmla="*/ 181647 w 181647"/>
                <a:gd name="connsiteY4" fmla="*/ 90824 h 181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647" h="181647">
                  <a:moveTo>
                    <a:pt x="181647" y="90824"/>
                  </a:moveTo>
                  <a:cubicBezTo>
                    <a:pt x="181647" y="140984"/>
                    <a:pt x="140984" y="181647"/>
                    <a:pt x="90824" y="181647"/>
                  </a:cubicBezTo>
                  <a:cubicBezTo>
                    <a:pt x="40663" y="181647"/>
                    <a:pt x="0" y="140984"/>
                    <a:pt x="0" y="90824"/>
                  </a:cubicBezTo>
                  <a:cubicBezTo>
                    <a:pt x="0" y="40663"/>
                    <a:pt x="40663" y="0"/>
                    <a:pt x="90824" y="0"/>
                  </a:cubicBezTo>
                  <a:cubicBezTo>
                    <a:pt x="140984" y="0"/>
                    <a:pt x="181647" y="40663"/>
                    <a:pt x="181647" y="90824"/>
                  </a:cubicBezTo>
                  <a:close/>
                </a:path>
              </a:pathLst>
            </a:custGeom>
            <a:solidFill>
              <a:schemeClr val="tx2"/>
            </a:solidFill>
            <a:ln w="116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06097A2-CD91-7F59-7B00-BDD601A0859A}"/>
                </a:ext>
              </a:extLst>
            </p:cNvPr>
            <p:cNvSpPr/>
            <p:nvPr/>
          </p:nvSpPr>
          <p:spPr>
            <a:xfrm>
              <a:off x="10101007" y="4897309"/>
              <a:ext cx="328873" cy="181881"/>
            </a:xfrm>
            <a:custGeom>
              <a:avLst/>
              <a:gdLst>
                <a:gd name="connsiteX0" fmla="*/ 310762 w 328873"/>
                <a:gd name="connsiteY0" fmla="*/ 54051 h 181881"/>
                <a:gd name="connsiteX1" fmla="*/ 221923 w 328873"/>
                <a:gd name="connsiteY1" fmla="*/ 11675 h 181881"/>
                <a:gd name="connsiteX2" fmla="*/ 147209 w 328873"/>
                <a:gd name="connsiteY2" fmla="*/ 1 h 181881"/>
                <a:gd name="connsiteX3" fmla="*/ 72612 w 328873"/>
                <a:gd name="connsiteY3" fmla="*/ 11675 h 181881"/>
                <a:gd name="connsiteX4" fmla="*/ 4203 w 328873"/>
                <a:gd name="connsiteY4" fmla="*/ 41093 h 181881"/>
                <a:gd name="connsiteX5" fmla="*/ 0 w 328873"/>
                <a:gd name="connsiteY5" fmla="*/ 45879 h 181881"/>
                <a:gd name="connsiteX6" fmla="*/ 93392 w 328873"/>
                <a:gd name="connsiteY6" fmla="*/ 92575 h 181881"/>
                <a:gd name="connsiteX7" fmla="*/ 127480 w 328873"/>
                <a:gd name="connsiteY7" fmla="*/ 161102 h 181881"/>
                <a:gd name="connsiteX8" fmla="*/ 127480 w 328873"/>
                <a:gd name="connsiteY8" fmla="*/ 181882 h 181881"/>
                <a:gd name="connsiteX9" fmla="*/ 328857 w 328873"/>
                <a:gd name="connsiteY9" fmla="*/ 181882 h 181881"/>
                <a:gd name="connsiteX10" fmla="*/ 328857 w 328873"/>
                <a:gd name="connsiteY10" fmla="*/ 90474 h 181881"/>
                <a:gd name="connsiteX11" fmla="*/ 310762 w 328873"/>
                <a:gd name="connsiteY11" fmla="*/ 54051 h 181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8873" h="181881">
                  <a:moveTo>
                    <a:pt x="310762" y="54051"/>
                  </a:moveTo>
                  <a:cubicBezTo>
                    <a:pt x="284558" y="33673"/>
                    <a:pt x="254249" y="19216"/>
                    <a:pt x="221923" y="11675"/>
                  </a:cubicBezTo>
                  <a:cubicBezTo>
                    <a:pt x="197626" y="4577"/>
                    <a:pt x="172513" y="652"/>
                    <a:pt x="147209" y="1"/>
                  </a:cubicBezTo>
                  <a:cubicBezTo>
                    <a:pt x="121885" y="-57"/>
                    <a:pt x="96709" y="3883"/>
                    <a:pt x="72612" y="11675"/>
                  </a:cubicBezTo>
                  <a:cubicBezTo>
                    <a:pt x="48497" y="18095"/>
                    <a:pt x="25450" y="28007"/>
                    <a:pt x="4203" y="41093"/>
                  </a:cubicBezTo>
                  <a:lnTo>
                    <a:pt x="0" y="45879"/>
                  </a:lnTo>
                  <a:cubicBezTo>
                    <a:pt x="33941" y="55041"/>
                    <a:pt x="65698" y="70920"/>
                    <a:pt x="93392" y="92575"/>
                  </a:cubicBezTo>
                  <a:cubicBezTo>
                    <a:pt x="115159" y="108568"/>
                    <a:pt x="127857" y="134094"/>
                    <a:pt x="127480" y="161102"/>
                  </a:cubicBezTo>
                  <a:lnTo>
                    <a:pt x="127480" y="181882"/>
                  </a:lnTo>
                  <a:lnTo>
                    <a:pt x="328857" y="181882"/>
                  </a:lnTo>
                  <a:lnTo>
                    <a:pt x="328857" y="90474"/>
                  </a:lnTo>
                  <a:cubicBezTo>
                    <a:pt x="329255" y="76080"/>
                    <a:pt x="322473" y="62430"/>
                    <a:pt x="310762" y="54051"/>
                  </a:cubicBezTo>
                  <a:close/>
                </a:path>
              </a:pathLst>
            </a:custGeom>
            <a:solidFill>
              <a:schemeClr val="tx2"/>
            </a:solidFill>
            <a:ln w="116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8839886-6C51-5838-ACA5-8B10E40E325D}"/>
                </a:ext>
              </a:extLst>
            </p:cNvPr>
            <p:cNvSpPr/>
            <p:nvPr/>
          </p:nvSpPr>
          <p:spPr>
            <a:xfrm>
              <a:off x="9582098" y="4897309"/>
              <a:ext cx="329323" cy="181881"/>
            </a:xfrm>
            <a:custGeom>
              <a:avLst/>
              <a:gdLst>
                <a:gd name="connsiteX0" fmla="*/ 201843 w 329323"/>
                <a:gd name="connsiteY0" fmla="*/ 161102 h 181881"/>
                <a:gd name="connsiteX1" fmla="*/ 234647 w 329323"/>
                <a:gd name="connsiteY1" fmla="*/ 93743 h 181881"/>
                <a:gd name="connsiteX2" fmla="*/ 235932 w 329323"/>
                <a:gd name="connsiteY2" fmla="*/ 92576 h 181881"/>
                <a:gd name="connsiteX3" fmla="*/ 237449 w 329323"/>
                <a:gd name="connsiteY3" fmla="*/ 91525 h 181881"/>
                <a:gd name="connsiteX4" fmla="*/ 329324 w 329323"/>
                <a:gd name="connsiteY4" fmla="*/ 45996 h 181881"/>
                <a:gd name="connsiteX5" fmla="*/ 322669 w 329323"/>
                <a:gd name="connsiteY5" fmla="*/ 38408 h 181881"/>
                <a:gd name="connsiteX6" fmla="*/ 256361 w 329323"/>
                <a:gd name="connsiteY6" fmla="*/ 11675 h 181881"/>
                <a:gd name="connsiteX7" fmla="*/ 181764 w 329323"/>
                <a:gd name="connsiteY7" fmla="*/ 1 h 181881"/>
                <a:gd name="connsiteX8" fmla="*/ 107051 w 329323"/>
                <a:gd name="connsiteY8" fmla="*/ 11675 h 181881"/>
                <a:gd name="connsiteX9" fmla="*/ 18211 w 329323"/>
                <a:gd name="connsiteY9" fmla="*/ 54051 h 181881"/>
                <a:gd name="connsiteX10" fmla="*/ 0 w 329323"/>
                <a:gd name="connsiteY10" fmla="*/ 90474 h 181881"/>
                <a:gd name="connsiteX11" fmla="*/ 0 w 329323"/>
                <a:gd name="connsiteY11" fmla="*/ 181882 h 181881"/>
                <a:gd name="connsiteX12" fmla="*/ 201843 w 329323"/>
                <a:gd name="connsiteY12" fmla="*/ 181882 h 181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9323" h="181881">
                  <a:moveTo>
                    <a:pt x="201843" y="161102"/>
                  </a:moveTo>
                  <a:cubicBezTo>
                    <a:pt x="201862" y="134805"/>
                    <a:pt x="213956" y="109972"/>
                    <a:pt x="234647" y="93743"/>
                  </a:cubicBezTo>
                  <a:lnTo>
                    <a:pt x="235932" y="92576"/>
                  </a:lnTo>
                  <a:lnTo>
                    <a:pt x="237449" y="91525"/>
                  </a:lnTo>
                  <a:cubicBezTo>
                    <a:pt x="265471" y="71584"/>
                    <a:pt x="296482" y="56216"/>
                    <a:pt x="329324" y="45996"/>
                  </a:cubicBezTo>
                  <a:cubicBezTo>
                    <a:pt x="326989" y="43545"/>
                    <a:pt x="324771" y="40977"/>
                    <a:pt x="322669" y="38408"/>
                  </a:cubicBezTo>
                  <a:cubicBezTo>
                    <a:pt x="301957" y="26376"/>
                    <a:pt x="279627" y="17373"/>
                    <a:pt x="256361" y="11675"/>
                  </a:cubicBezTo>
                  <a:cubicBezTo>
                    <a:pt x="232102" y="4586"/>
                    <a:pt x="207029" y="663"/>
                    <a:pt x="181764" y="1"/>
                  </a:cubicBezTo>
                  <a:cubicBezTo>
                    <a:pt x="156400" y="-65"/>
                    <a:pt x="131185" y="3875"/>
                    <a:pt x="107051" y="11675"/>
                  </a:cubicBezTo>
                  <a:cubicBezTo>
                    <a:pt x="75177" y="20468"/>
                    <a:pt x="45104" y="34813"/>
                    <a:pt x="18211" y="54051"/>
                  </a:cubicBezTo>
                  <a:cubicBezTo>
                    <a:pt x="6888" y="62766"/>
                    <a:pt x="179" y="76186"/>
                    <a:pt x="0" y="90474"/>
                  </a:cubicBezTo>
                  <a:lnTo>
                    <a:pt x="0" y="181882"/>
                  </a:lnTo>
                  <a:lnTo>
                    <a:pt x="201843" y="181882"/>
                  </a:lnTo>
                  <a:close/>
                </a:path>
              </a:pathLst>
            </a:custGeom>
            <a:solidFill>
              <a:schemeClr val="tx2"/>
            </a:solidFill>
            <a:ln w="116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38132D4A-5F31-C707-BE79-78446BF3290A}"/>
                </a:ext>
              </a:extLst>
            </p:cNvPr>
            <p:cNvSpPr/>
            <p:nvPr/>
          </p:nvSpPr>
          <p:spPr>
            <a:xfrm>
              <a:off x="9824333" y="4968052"/>
              <a:ext cx="363426" cy="181182"/>
            </a:xfrm>
            <a:custGeom>
              <a:avLst/>
              <a:gdLst>
                <a:gd name="connsiteX0" fmla="*/ 0 w 363426"/>
                <a:gd name="connsiteY0" fmla="*/ 181183 h 181182"/>
                <a:gd name="connsiteX1" fmla="*/ 0 w 363426"/>
                <a:gd name="connsiteY1" fmla="*/ 90359 h 181182"/>
                <a:gd name="connsiteX2" fmla="*/ 18211 w 363426"/>
                <a:gd name="connsiteY2" fmla="*/ 54053 h 181182"/>
                <a:gd name="connsiteX3" fmla="*/ 107051 w 363426"/>
                <a:gd name="connsiteY3" fmla="*/ 11676 h 181182"/>
                <a:gd name="connsiteX4" fmla="*/ 181647 w 363426"/>
                <a:gd name="connsiteY4" fmla="*/ 2 h 181182"/>
                <a:gd name="connsiteX5" fmla="*/ 256361 w 363426"/>
                <a:gd name="connsiteY5" fmla="*/ 11676 h 181182"/>
                <a:gd name="connsiteX6" fmla="*/ 345200 w 363426"/>
                <a:gd name="connsiteY6" fmla="*/ 54053 h 181182"/>
                <a:gd name="connsiteX7" fmla="*/ 363412 w 363426"/>
                <a:gd name="connsiteY7" fmla="*/ 90359 h 181182"/>
                <a:gd name="connsiteX8" fmla="*/ 363412 w 363426"/>
                <a:gd name="connsiteY8" fmla="*/ 181183 h 181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63426" h="181182">
                  <a:moveTo>
                    <a:pt x="0" y="181183"/>
                  </a:moveTo>
                  <a:lnTo>
                    <a:pt x="0" y="90359"/>
                  </a:lnTo>
                  <a:cubicBezTo>
                    <a:pt x="55" y="76073"/>
                    <a:pt x="6794" y="62638"/>
                    <a:pt x="18211" y="54053"/>
                  </a:cubicBezTo>
                  <a:cubicBezTo>
                    <a:pt x="45050" y="34724"/>
                    <a:pt x="75140" y="20371"/>
                    <a:pt x="107051" y="11676"/>
                  </a:cubicBezTo>
                  <a:cubicBezTo>
                    <a:pt x="131135" y="3834"/>
                    <a:pt x="156318" y="-108"/>
                    <a:pt x="181647" y="2"/>
                  </a:cubicBezTo>
                  <a:cubicBezTo>
                    <a:pt x="206957" y="596"/>
                    <a:pt x="232077" y="4522"/>
                    <a:pt x="256361" y="11676"/>
                  </a:cubicBezTo>
                  <a:cubicBezTo>
                    <a:pt x="288723" y="19118"/>
                    <a:pt x="319052" y="33585"/>
                    <a:pt x="345200" y="54053"/>
                  </a:cubicBezTo>
                  <a:cubicBezTo>
                    <a:pt x="356954" y="62354"/>
                    <a:pt x="363786" y="75975"/>
                    <a:pt x="363412" y="90359"/>
                  </a:cubicBezTo>
                  <a:lnTo>
                    <a:pt x="363412" y="181183"/>
                  </a:lnTo>
                  <a:close/>
                </a:path>
              </a:pathLst>
            </a:custGeom>
            <a:solidFill>
              <a:schemeClr val="tx2"/>
            </a:solidFill>
            <a:ln w="116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BC5542A9-540E-A5BD-B81B-FE9440C184E8}"/>
                </a:ext>
              </a:extLst>
            </p:cNvPr>
            <p:cNvSpPr/>
            <p:nvPr/>
          </p:nvSpPr>
          <p:spPr>
            <a:xfrm>
              <a:off x="9915157" y="4761658"/>
              <a:ext cx="181647" cy="181647"/>
            </a:xfrm>
            <a:custGeom>
              <a:avLst/>
              <a:gdLst>
                <a:gd name="connsiteX0" fmla="*/ 181647 w 181647"/>
                <a:gd name="connsiteY0" fmla="*/ 90824 h 181647"/>
                <a:gd name="connsiteX1" fmla="*/ 90824 w 181647"/>
                <a:gd name="connsiteY1" fmla="*/ 181647 h 181647"/>
                <a:gd name="connsiteX2" fmla="*/ 0 w 181647"/>
                <a:gd name="connsiteY2" fmla="*/ 90824 h 181647"/>
                <a:gd name="connsiteX3" fmla="*/ 90824 w 181647"/>
                <a:gd name="connsiteY3" fmla="*/ 0 h 181647"/>
                <a:gd name="connsiteX4" fmla="*/ 181647 w 181647"/>
                <a:gd name="connsiteY4" fmla="*/ 90824 h 181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647" h="181647">
                  <a:moveTo>
                    <a:pt x="181647" y="90824"/>
                  </a:moveTo>
                  <a:cubicBezTo>
                    <a:pt x="181647" y="140984"/>
                    <a:pt x="140984" y="181647"/>
                    <a:pt x="90824" y="181647"/>
                  </a:cubicBezTo>
                  <a:cubicBezTo>
                    <a:pt x="40663" y="181647"/>
                    <a:pt x="0" y="140984"/>
                    <a:pt x="0" y="90824"/>
                  </a:cubicBezTo>
                  <a:cubicBezTo>
                    <a:pt x="0" y="40663"/>
                    <a:pt x="40663" y="0"/>
                    <a:pt x="90824" y="0"/>
                  </a:cubicBezTo>
                  <a:cubicBezTo>
                    <a:pt x="140984" y="0"/>
                    <a:pt x="181647" y="40663"/>
                    <a:pt x="181647" y="90824"/>
                  </a:cubicBezTo>
                  <a:close/>
                </a:path>
              </a:pathLst>
            </a:custGeom>
            <a:solidFill>
              <a:schemeClr val="tx2"/>
            </a:solidFill>
            <a:ln w="1160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pic>
        <p:nvPicPr>
          <p:cNvPr id="24" name="Graphic 23" descr="Processor">
            <a:extLst>
              <a:ext uri="{FF2B5EF4-FFF2-40B4-BE49-F238E27FC236}">
                <a16:creationId xmlns:a16="http://schemas.microsoft.com/office/drawing/2014/main" id="{4D4A5D16-2422-9FE1-41B4-63170576268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42771" y="1627462"/>
            <a:ext cx="1194077" cy="1194077"/>
          </a:xfrm>
          <a:prstGeom prst="rect">
            <a:avLst/>
          </a:prstGeom>
        </p:spPr>
      </p:pic>
      <p:pic>
        <p:nvPicPr>
          <p:cNvPr id="26" name="Graphic 25" descr="Tools">
            <a:extLst>
              <a:ext uri="{FF2B5EF4-FFF2-40B4-BE49-F238E27FC236}">
                <a16:creationId xmlns:a16="http://schemas.microsoft.com/office/drawing/2014/main" id="{29C4E5A1-6CA5-E3D1-F68B-419E8AD2069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448471" y="1624053"/>
            <a:ext cx="1103346" cy="1103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0602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">
  <a:themeElements>
    <a:clrScheme name="Red Lion">
      <a:dk1>
        <a:srgbClr val="FFFFFF"/>
      </a:dk1>
      <a:lt1>
        <a:srgbClr val="AB2328"/>
      </a:lt1>
      <a:dk2>
        <a:srgbClr val="FFFFFF"/>
      </a:dk2>
      <a:lt2>
        <a:srgbClr val="1B365D"/>
      </a:lt2>
      <a:accent1>
        <a:srgbClr val="FFFFFF"/>
      </a:accent1>
      <a:accent2>
        <a:srgbClr val="63666A"/>
      </a:accent2>
      <a:accent3>
        <a:srgbClr val="89AAE3"/>
      </a:accent3>
      <a:accent4>
        <a:srgbClr val="E1B71B"/>
      </a:accent4>
      <a:accent5>
        <a:srgbClr val="1B355D"/>
      </a:accent5>
      <a:accent6>
        <a:srgbClr val="AA2328"/>
      </a:accent6>
      <a:hlink>
        <a:srgbClr val="89AAE3"/>
      </a:hlink>
      <a:folHlink>
        <a:srgbClr val="1B355D"/>
      </a:folHlink>
    </a:clrScheme>
    <a:fontScheme name="Red Lion 2023">
      <a:majorFont>
        <a:latin typeface="Titillium Bd"/>
        <a:ea typeface=""/>
        <a:cs typeface=""/>
      </a:majorFont>
      <a:minorFont>
        <a:latin typeface="Lato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/>
      <a:lstStyle>
        <a:defPPr algn="l">
          <a:defRPr/>
        </a:defPPr>
      </a:lstStyle>
      <a:style>
        <a:lnRef idx="0">
          <a:schemeClr val="accent6">
            <a:tint val="60000"/>
            <a:hueOff val="0"/>
            <a:satOff val="0"/>
            <a:lumOff val="0"/>
            <a:alphaOff val="0"/>
          </a:schemeClr>
        </a:lnRef>
        <a:fillRef idx="1">
          <a:schemeClr val="accent6">
            <a:tint val="60000"/>
            <a:hueOff val="0"/>
            <a:satOff val="0"/>
            <a:lumOff val="0"/>
            <a:alphaOff val="0"/>
          </a:schemeClr>
        </a:fillRef>
        <a:effectRef idx="0">
          <a:schemeClr val="accent6">
            <a:tint val="60000"/>
            <a:hueOff val="0"/>
            <a:satOff val="0"/>
            <a:lumOff val="0"/>
            <a:alphaOff val="0"/>
          </a:schemeClr>
        </a:effectRef>
        <a:fontRef idx="minor">
          <a:schemeClr val="dk1">
            <a:hueOff val="0"/>
            <a:satOff val="0"/>
            <a:lumOff val="0"/>
            <a:alphaOff val="0"/>
          </a:schemeClr>
        </a:fontRef>
      </a:style>
    </a:spDef>
    <a:txDef>
      <a:spPr/>
      <a:bodyPr vert="horz" lIns="91440" tIns="45720" rIns="91440" bIns="45720" rtlCol="0" anchor="b">
        <a:norm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RLC POTX_FINAL" id="{DB7B39B7-F560-49CE-ABD0-8E5A02248EF9}" vid="{40516011-6A2A-461F-AA70-EEAAEB52C2E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88a3897f-0c9b-429b-ba48-737d8210621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6994589D34C44DBCA9B2043936C47F" ma:contentTypeVersion="16" ma:contentTypeDescription="Create a new document." ma:contentTypeScope="" ma:versionID="bc205ff3b00609b18a3adf411b7088c1">
  <xsd:schema xmlns:xsd="http://www.w3.org/2001/XMLSchema" xmlns:xs="http://www.w3.org/2001/XMLSchema" xmlns:p="http://schemas.microsoft.com/office/2006/metadata/properties" xmlns:ns3="d1815772-c48a-4cbe-b79e-b9fbd0c6c708" xmlns:ns4="88a3897f-0c9b-429b-ba48-737d82106213" targetNamespace="http://schemas.microsoft.com/office/2006/metadata/properties" ma:root="true" ma:fieldsID="d29a2f5ff2e07b9ce0e3ba7d4ee7a878" ns3:_="" ns4:_="">
    <xsd:import namespace="d1815772-c48a-4cbe-b79e-b9fbd0c6c708"/>
    <xsd:import namespace="88a3897f-0c9b-429b-ba48-737d82106213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OCR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MediaServiceLocation" minOccurs="0"/>
                <xsd:element ref="ns4:_activity" minOccurs="0"/>
                <xsd:element ref="ns4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1815772-c48a-4cbe-b79e-b9fbd0c6c70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8a3897f-0c9b-429b-ba48-737d821062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3746109-09B9-4044-A70B-54969BB0FCE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BA9BDDF-7AF5-48AC-A33B-221F519B4A38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purl.org/dc/terms/"/>
    <ds:schemaRef ds:uri="88a3897f-0c9b-429b-ba48-737d82106213"/>
    <ds:schemaRef ds:uri="http://schemas.openxmlformats.org/package/2006/metadata/core-properties"/>
    <ds:schemaRef ds:uri="d1815772-c48a-4cbe-b79e-b9fbd0c6c708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EE0347A-E0AB-4952-80CF-40047F7AA1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1815772-c48a-4cbe-b79e-b9fbd0c6c708"/>
    <ds:schemaRef ds:uri="88a3897f-0c9b-429b-ba48-737d8210621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LC POTX_FINAL Rahul (1)</Template>
  <TotalTime>839</TotalTime>
  <Words>1756</Words>
  <Application>Microsoft Office PowerPoint</Application>
  <PresentationFormat>Widescreen</PresentationFormat>
  <Paragraphs>723</Paragraphs>
  <Slides>3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4" baseType="lpstr">
      <vt:lpstr>Abadi</vt:lpstr>
      <vt:lpstr>Arial</vt:lpstr>
      <vt:lpstr>Calibri</vt:lpstr>
      <vt:lpstr>Courier New</vt:lpstr>
      <vt:lpstr>Lato</vt:lpstr>
      <vt:lpstr>Lato Light</vt:lpstr>
      <vt:lpstr>Lato Medium</vt:lpstr>
      <vt:lpstr>Times New Roman</vt:lpstr>
      <vt:lpstr>Titillium</vt:lpstr>
      <vt:lpstr>Titillium Web Light</vt:lpstr>
      <vt:lpstr>Titillium Web SemiBold</vt:lpstr>
      <vt:lpstr>COVER</vt:lpstr>
      <vt:lpstr>think-cell Slide</vt:lpstr>
      <vt:lpstr>Industrial RTU and I/O Modules</vt:lpstr>
      <vt:lpstr>RTU and I/O</vt:lpstr>
      <vt:lpstr>PowerPoint Presentation</vt:lpstr>
      <vt:lpstr>Product 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ersaTRAK® RTUs</vt:lpstr>
      <vt:lpstr>VersaTRAK® RTUs</vt:lpstr>
      <vt:lpstr>VersaTRAK® RTUs</vt:lpstr>
      <vt:lpstr>VT-mIPm-248-D</vt:lpstr>
      <vt:lpstr>VT-mIPm-138-D</vt:lpstr>
      <vt:lpstr>VT-mIPm-248-D, Graphite HMI</vt:lpstr>
      <vt:lpstr>PowerPoint Presentation</vt:lpstr>
      <vt:lpstr>Red Lion Workbench</vt:lpstr>
      <vt:lpstr>Tool Kit and Red Lion Workbench</vt:lpstr>
      <vt:lpstr>Tool Kit and Red Lion Workbench</vt:lpstr>
      <vt:lpstr>Red Lion Workbench</vt:lpstr>
      <vt:lpstr>PowerPoint Presentation</vt:lpstr>
      <vt:lpstr>EtherTRAK® -2</vt:lpstr>
      <vt:lpstr>EtherTRAK® -2</vt:lpstr>
      <vt:lpstr>EtherTRAK®-2 Networking Options</vt:lpstr>
      <vt:lpstr>EtherTRAK®-2</vt:lpstr>
      <vt:lpstr>EtherTRAK®-2 Order Guide</vt:lpstr>
      <vt:lpstr>ST-IPm-8460, EtherTRAK-2 I/O, Graphite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lexEdge® THE Ultimate Edge Solution</dc:title>
  <dc:creator>Kombustion IEPL</dc:creator>
  <cp:lastModifiedBy>Don Kline</cp:lastModifiedBy>
  <cp:revision>23</cp:revision>
  <cp:lastPrinted>2024-04-03T14:17:59Z</cp:lastPrinted>
  <dcterms:created xsi:type="dcterms:W3CDTF">2023-10-26T12:07:40Z</dcterms:created>
  <dcterms:modified xsi:type="dcterms:W3CDTF">2024-04-03T14:2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f7e01cc-5b14-4415-bc54-c7fd698f74a3_Enabled">
    <vt:lpwstr>true</vt:lpwstr>
  </property>
  <property fmtid="{D5CDD505-2E9C-101B-9397-08002B2CF9AE}" pid="3" name="MSIP_Label_ff7e01cc-5b14-4415-bc54-c7fd698f74a3_SetDate">
    <vt:lpwstr>2023-07-17T20:14:07Z</vt:lpwstr>
  </property>
  <property fmtid="{D5CDD505-2E9C-101B-9397-08002B2CF9AE}" pid="4" name="MSIP_Label_ff7e01cc-5b14-4415-bc54-c7fd698f74a3_Method">
    <vt:lpwstr>Privileged</vt:lpwstr>
  </property>
  <property fmtid="{D5CDD505-2E9C-101B-9397-08002B2CF9AE}" pid="5" name="MSIP_Label_ff7e01cc-5b14-4415-bc54-c7fd698f74a3_Name">
    <vt:lpwstr>Corporate</vt:lpwstr>
  </property>
  <property fmtid="{D5CDD505-2E9C-101B-9397-08002B2CF9AE}" pid="6" name="MSIP_Label_ff7e01cc-5b14-4415-bc54-c7fd698f74a3_SiteId">
    <vt:lpwstr>247aee67-12cb-4195-acc7-03a2905017c7</vt:lpwstr>
  </property>
  <property fmtid="{D5CDD505-2E9C-101B-9397-08002B2CF9AE}" pid="7" name="MSIP_Label_ff7e01cc-5b14-4415-bc54-c7fd698f74a3_ActionId">
    <vt:lpwstr>d606d5e7-e609-4296-9c3a-8c6a928fdde8</vt:lpwstr>
  </property>
  <property fmtid="{D5CDD505-2E9C-101B-9397-08002B2CF9AE}" pid="8" name="MSIP_Label_ff7e01cc-5b14-4415-bc54-c7fd698f74a3_ContentBits">
    <vt:lpwstr>2</vt:lpwstr>
  </property>
  <property fmtid="{D5CDD505-2E9C-101B-9397-08002B2CF9AE}" pid="9" name="ContentTypeId">
    <vt:lpwstr>0x010100506994589D34C44DBCA9B2043936C47F</vt:lpwstr>
  </property>
</Properties>
</file>